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5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5"/>
  </p:notesMasterIdLst>
  <p:sldIdLst>
    <p:sldId id="256" r:id="rId2"/>
    <p:sldId id="257" r:id="rId3"/>
    <p:sldId id="293" r:id="rId4"/>
    <p:sldId id="294" r:id="rId5"/>
    <p:sldId id="258" r:id="rId6"/>
    <p:sldId id="295" r:id="rId7"/>
    <p:sldId id="296" r:id="rId8"/>
    <p:sldId id="297" r:id="rId9"/>
    <p:sldId id="298" r:id="rId10"/>
    <p:sldId id="299" r:id="rId11"/>
    <p:sldId id="300" r:id="rId12"/>
    <p:sldId id="301" r:id="rId13"/>
    <p:sldId id="290" r:id="rId14"/>
    <p:sldId id="302" r:id="rId15"/>
    <p:sldId id="303" r:id="rId16"/>
    <p:sldId id="304" r:id="rId17"/>
    <p:sldId id="309" r:id="rId18"/>
    <p:sldId id="305" r:id="rId19"/>
    <p:sldId id="307" r:id="rId20"/>
    <p:sldId id="308" r:id="rId21"/>
    <p:sldId id="310" r:id="rId22"/>
    <p:sldId id="313" r:id="rId23"/>
    <p:sldId id="312" r:id="rId24"/>
    <p:sldId id="315" r:id="rId25"/>
    <p:sldId id="291" r:id="rId26"/>
    <p:sldId id="316" r:id="rId27"/>
    <p:sldId id="319" r:id="rId28"/>
    <p:sldId id="317" r:id="rId29"/>
    <p:sldId id="320" r:id="rId30"/>
    <p:sldId id="322" r:id="rId31"/>
    <p:sldId id="318" r:id="rId32"/>
    <p:sldId id="321" r:id="rId33"/>
    <p:sldId id="284" r:id="rId34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600"/>
    <a:srgbClr val="009DE0"/>
    <a:srgbClr val="5BC0EB"/>
    <a:srgbClr val="B36700"/>
    <a:srgbClr val="ED7F3D"/>
    <a:srgbClr val="F27D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426" autoAdjust="0"/>
    <p:restoredTop sz="95460" autoAdjust="0"/>
  </p:normalViewPr>
  <p:slideViewPr>
    <p:cSldViewPr snapToGrid="0">
      <p:cViewPr varScale="1">
        <p:scale>
          <a:sx n="76" d="100"/>
          <a:sy n="76" d="100"/>
        </p:scale>
        <p:origin x="58" y="28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8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9B76ADE-6094-425D-8D9A-6AADCC607462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5DD28C95-A000-4C28-BDBE-24E78C45643D}">
      <dgm:prSet phldrT="[Texte]" custT="1"/>
      <dgm:spPr>
        <a:solidFill>
          <a:srgbClr val="FF6600"/>
        </a:solidFill>
      </dgm:spPr>
      <dgm:t>
        <a:bodyPr anchor="ctr" anchorCtr="0"/>
        <a:lstStyle/>
        <a:p>
          <a:pPr marL="0" indent="0" algn="l">
            <a:tabLst>
              <a:tab pos="266700" algn="l"/>
            </a:tabLst>
          </a:pPr>
          <a:r>
            <a:rPr lang="fr-FR" sz="4000" b="1" dirty="0" smtClean="0">
              <a:solidFill>
                <a:schemeClr val="accent4">
                  <a:lumMod val="20000"/>
                  <a:lumOff val="80000"/>
                </a:schemeClr>
              </a:solidFill>
              <a:latin typeface="Corbel" panose="020B0503020204020204" pitchFamily="34" charset="0"/>
            </a:rPr>
            <a:t>Résultats pertinents</a:t>
          </a:r>
        </a:p>
      </dgm:t>
    </dgm:pt>
    <dgm:pt modelId="{34164B9F-C778-467B-9D47-33E610B61C2E}" type="parTrans" cxnId="{1718AA1C-DB1E-4D87-90A3-A03096047FF0}">
      <dgm:prSet/>
      <dgm:spPr/>
      <dgm:t>
        <a:bodyPr/>
        <a:lstStyle/>
        <a:p>
          <a:endParaRPr lang="fr-FR"/>
        </a:p>
      </dgm:t>
    </dgm:pt>
    <dgm:pt modelId="{3ED2CA69-7559-4355-8AA0-07383AF30329}" type="sibTrans" cxnId="{1718AA1C-DB1E-4D87-90A3-A03096047FF0}">
      <dgm:prSet/>
      <dgm:spPr/>
      <dgm:t>
        <a:bodyPr/>
        <a:lstStyle/>
        <a:p>
          <a:endParaRPr lang="fr-FR"/>
        </a:p>
      </dgm:t>
    </dgm:pt>
    <dgm:pt modelId="{0FE557A0-E069-41A4-91A6-1EC55D2BDE6E}">
      <dgm:prSet phldrT="[Texte]" custT="1"/>
      <dgm:spPr>
        <a:solidFill>
          <a:srgbClr val="FFC000">
            <a:alpha val="50000"/>
          </a:srgbClr>
        </a:solidFill>
      </dgm:spPr>
      <dgm:t>
        <a:bodyPr/>
        <a:lstStyle/>
        <a:p>
          <a:pPr marL="622300" indent="0" algn="l" defTabSz="901700">
            <a:tabLst>
              <a:tab pos="1079500" algn="l"/>
              <a:tab pos="1168400" algn="l"/>
              <a:tab pos="1790700" algn="l"/>
            </a:tabLst>
          </a:pPr>
          <a:r>
            <a:rPr lang="fr-FR" sz="4000" b="1" dirty="0" smtClean="0">
              <a:solidFill>
                <a:srgbClr val="C00000"/>
              </a:solidFill>
              <a:latin typeface="Corbel" panose="020B0503020204020204" pitchFamily="34" charset="0"/>
            </a:rPr>
            <a:t>Résultats obtenus</a:t>
          </a:r>
          <a:endParaRPr lang="fr-FR" sz="4000" b="1" dirty="0">
            <a:solidFill>
              <a:srgbClr val="C00000"/>
            </a:solidFill>
            <a:latin typeface="Corbel" panose="020B0503020204020204" pitchFamily="34" charset="0"/>
          </a:endParaRPr>
        </a:p>
      </dgm:t>
    </dgm:pt>
    <dgm:pt modelId="{E5193959-A210-4D36-8456-BCD45DC89D8C}" type="parTrans" cxnId="{6D3F5E70-4ABF-4D52-90C1-520CB0703B33}">
      <dgm:prSet/>
      <dgm:spPr/>
      <dgm:t>
        <a:bodyPr/>
        <a:lstStyle/>
        <a:p>
          <a:endParaRPr lang="fr-FR"/>
        </a:p>
      </dgm:t>
    </dgm:pt>
    <dgm:pt modelId="{8905A8D4-E309-45D8-A4BC-0D26895B2387}" type="sibTrans" cxnId="{6D3F5E70-4ABF-4D52-90C1-520CB0703B33}">
      <dgm:prSet/>
      <dgm:spPr/>
      <dgm:t>
        <a:bodyPr/>
        <a:lstStyle/>
        <a:p>
          <a:endParaRPr lang="fr-FR"/>
        </a:p>
      </dgm:t>
    </dgm:pt>
    <dgm:pt modelId="{325E89A9-01B6-48D2-B384-6B18A5234ADB}" type="pres">
      <dgm:prSet presAssocID="{A9B76ADE-6094-425D-8D9A-6AADCC607462}" presName="compositeShape" presStyleCnt="0">
        <dgm:presLayoutVars>
          <dgm:chMax val="7"/>
          <dgm:dir/>
          <dgm:resizeHandles val="exact"/>
        </dgm:presLayoutVars>
      </dgm:prSet>
      <dgm:spPr/>
    </dgm:pt>
    <dgm:pt modelId="{498039FD-F768-4651-9E91-57FCEB83B688}" type="pres">
      <dgm:prSet presAssocID="{5DD28C95-A000-4C28-BDBE-24E78C45643D}" presName="circ1" presStyleLbl="vennNode1" presStyleIdx="0" presStyleCnt="2" custScaleX="131739" custScaleY="78869" custLinFactNeighborX="-8798" custLinFactNeighborY="817"/>
      <dgm:spPr/>
      <dgm:t>
        <a:bodyPr/>
        <a:lstStyle/>
        <a:p>
          <a:endParaRPr lang="fr-FR"/>
        </a:p>
      </dgm:t>
    </dgm:pt>
    <dgm:pt modelId="{6E4C6411-A803-4AAE-B41B-C7C4D00C0B9D}" type="pres">
      <dgm:prSet presAssocID="{5DD28C95-A000-4C28-BDBE-24E78C45643D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7C63954-7E2B-4FE8-95A4-004AD82B030A}" type="pres">
      <dgm:prSet presAssocID="{0FE557A0-E069-41A4-91A6-1EC55D2BDE6E}" presName="circ2" presStyleLbl="vennNode1" presStyleIdx="1" presStyleCnt="2" custScaleX="115069" custScaleY="76035" custLinFactNeighborX="7732" custLinFactNeighborY="301"/>
      <dgm:spPr/>
      <dgm:t>
        <a:bodyPr/>
        <a:lstStyle/>
        <a:p>
          <a:endParaRPr lang="fr-FR"/>
        </a:p>
      </dgm:t>
    </dgm:pt>
    <dgm:pt modelId="{536D8587-5531-40AD-80D7-C2E8194B1185}" type="pres">
      <dgm:prSet presAssocID="{0FE557A0-E069-41A4-91A6-1EC55D2BDE6E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64F2D301-783D-4E2B-AA61-A107784A223E}" type="presOf" srcId="{0FE557A0-E069-41A4-91A6-1EC55D2BDE6E}" destId="{536D8587-5531-40AD-80D7-C2E8194B1185}" srcOrd="1" destOrd="0" presId="urn:microsoft.com/office/officeart/2005/8/layout/venn1"/>
    <dgm:cxn modelId="{6D3F5E70-4ABF-4D52-90C1-520CB0703B33}" srcId="{A9B76ADE-6094-425D-8D9A-6AADCC607462}" destId="{0FE557A0-E069-41A4-91A6-1EC55D2BDE6E}" srcOrd="1" destOrd="0" parTransId="{E5193959-A210-4D36-8456-BCD45DC89D8C}" sibTransId="{8905A8D4-E309-45D8-A4BC-0D26895B2387}"/>
    <dgm:cxn modelId="{1718AA1C-DB1E-4D87-90A3-A03096047FF0}" srcId="{A9B76ADE-6094-425D-8D9A-6AADCC607462}" destId="{5DD28C95-A000-4C28-BDBE-24E78C45643D}" srcOrd="0" destOrd="0" parTransId="{34164B9F-C778-467B-9D47-33E610B61C2E}" sibTransId="{3ED2CA69-7559-4355-8AA0-07383AF30329}"/>
    <dgm:cxn modelId="{A9F5909A-D913-4C6B-A776-BB70FFE7D0FA}" type="presOf" srcId="{A9B76ADE-6094-425D-8D9A-6AADCC607462}" destId="{325E89A9-01B6-48D2-B384-6B18A5234ADB}" srcOrd="0" destOrd="0" presId="urn:microsoft.com/office/officeart/2005/8/layout/venn1"/>
    <dgm:cxn modelId="{B664837F-8ECC-4301-80E9-F6AE9222B292}" type="presOf" srcId="{5DD28C95-A000-4C28-BDBE-24E78C45643D}" destId="{498039FD-F768-4651-9E91-57FCEB83B688}" srcOrd="0" destOrd="0" presId="urn:microsoft.com/office/officeart/2005/8/layout/venn1"/>
    <dgm:cxn modelId="{A5A3154A-84D7-4E2D-A1AC-0F7BE9E5E9F1}" type="presOf" srcId="{5DD28C95-A000-4C28-BDBE-24E78C45643D}" destId="{6E4C6411-A803-4AAE-B41B-C7C4D00C0B9D}" srcOrd="1" destOrd="0" presId="urn:microsoft.com/office/officeart/2005/8/layout/venn1"/>
    <dgm:cxn modelId="{9F098C26-89E5-43C4-B29A-EAD6D19C7DAD}" type="presOf" srcId="{0FE557A0-E069-41A4-91A6-1EC55D2BDE6E}" destId="{C7C63954-7E2B-4FE8-95A4-004AD82B030A}" srcOrd="0" destOrd="0" presId="urn:microsoft.com/office/officeart/2005/8/layout/venn1"/>
    <dgm:cxn modelId="{D791529E-A1EF-45B6-A630-98FD38A56A42}" type="presParOf" srcId="{325E89A9-01B6-48D2-B384-6B18A5234ADB}" destId="{498039FD-F768-4651-9E91-57FCEB83B688}" srcOrd="0" destOrd="0" presId="urn:microsoft.com/office/officeart/2005/8/layout/venn1"/>
    <dgm:cxn modelId="{79D71884-119C-439B-A80A-70B0943503FE}" type="presParOf" srcId="{325E89A9-01B6-48D2-B384-6B18A5234ADB}" destId="{6E4C6411-A803-4AAE-B41B-C7C4D00C0B9D}" srcOrd="1" destOrd="0" presId="urn:microsoft.com/office/officeart/2005/8/layout/venn1"/>
    <dgm:cxn modelId="{360E346D-6730-47BE-BF95-946F160BA85F}" type="presParOf" srcId="{325E89A9-01B6-48D2-B384-6B18A5234ADB}" destId="{C7C63954-7E2B-4FE8-95A4-004AD82B030A}" srcOrd="2" destOrd="0" presId="urn:microsoft.com/office/officeart/2005/8/layout/venn1"/>
    <dgm:cxn modelId="{F60CA6B7-E40B-4E52-8B5C-F9C694501DD0}" type="presParOf" srcId="{325E89A9-01B6-48D2-B384-6B18A5234ADB}" destId="{536D8587-5531-40AD-80D7-C2E8194B1185}" srcOrd="3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9B76ADE-6094-425D-8D9A-6AADCC607462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5DD28C95-A000-4C28-BDBE-24E78C45643D}">
      <dgm:prSet phldrT="[Texte]" custT="1"/>
      <dgm:spPr>
        <a:solidFill>
          <a:srgbClr val="FF6600"/>
        </a:solidFill>
      </dgm:spPr>
      <dgm:t>
        <a:bodyPr anchor="t" anchorCtr="1"/>
        <a:lstStyle/>
        <a:p>
          <a:pPr algn="l"/>
          <a:r>
            <a:rPr lang="fr-FR" sz="4000" b="1" dirty="0" smtClean="0">
              <a:solidFill>
                <a:schemeClr val="accent4">
                  <a:lumMod val="20000"/>
                  <a:lumOff val="80000"/>
                </a:schemeClr>
              </a:solidFill>
              <a:latin typeface="Corbel" panose="020B0503020204020204" pitchFamily="34" charset="0"/>
            </a:rPr>
            <a:t>Résultats pertinents</a:t>
          </a:r>
        </a:p>
      </dgm:t>
    </dgm:pt>
    <dgm:pt modelId="{34164B9F-C778-467B-9D47-33E610B61C2E}" type="parTrans" cxnId="{1718AA1C-DB1E-4D87-90A3-A03096047FF0}">
      <dgm:prSet/>
      <dgm:spPr/>
      <dgm:t>
        <a:bodyPr/>
        <a:lstStyle/>
        <a:p>
          <a:endParaRPr lang="fr-FR">
            <a:latin typeface="Corbel" panose="020B0503020204020204" pitchFamily="34" charset="0"/>
          </a:endParaRPr>
        </a:p>
      </dgm:t>
    </dgm:pt>
    <dgm:pt modelId="{3ED2CA69-7559-4355-8AA0-07383AF30329}" type="sibTrans" cxnId="{1718AA1C-DB1E-4D87-90A3-A03096047FF0}">
      <dgm:prSet/>
      <dgm:spPr/>
      <dgm:t>
        <a:bodyPr/>
        <a:lstStyle/>
        <a:p>
          <a:endParaRPr lang="fr-FR">
            <a:latin typeface="Corbel" panose="020B0503020204020204" pitchFamily="34" charset="0"/>
          </a:endParaRPr>
        </a:p>
      </dgm:t>
    </dgm:pt>
    <dgm:pt modelId="{0FE557A0-E069-41A4-91A6-1EC55D2BDE6E}">
      <dgm:prSet phldrT="[Texte]" custT="1"/>
      <dgm:spPr>
        <a:solidFill>
          <a:srgbClr val="FFC000">
            <a:alpha val="34000"/>
          </a:srgbClr>
        </a:solidFill>
      </dgm:spPr>
      <dgm:t>
        <a:bodyPr anchor="t" anchorCtr="1"/>
        <a:lstStyle/>
        <a:p>
          <a:pPr marL="0" indent="0" algn="l">
            <a:tabLst>
              <a:tab pos="176213" algn="l"/>
            </a:tabLst>
          </a:pPr>
          <a:r>
            <a:rPr lang="fr-FR" sz="3600" b="1" dirty="0" smtClean="0">
              <a:solidFill>
                <a:srgbClr val="C00000"/>
              </a:solidFill>
              <a:latin typeface="Corbel" panose="020B0503020204020204" pitchFamily="34" charset="0"/>
            </a:rPr>
            <a:t>Résultats obtenus</a:t>
          </a:r>
          <a:endParaRPr lang="fr-FR" sz="3600" b="1" dirty="0">
            <a:solidFill>
              <a:srgbClr val="C00000"/>
            </a:solidFill>
            <a:latin typeface="Corbel" panose="020B0503020204020204" pitchFamily="34" charset="0"/>
          </a:endParaRPr>
        </a:p>
      </dgm:t>
    </dgm:pt>
    <dgm:pt modelId="{E5193959-A210-4D36-8456-BCD45DC89D8C}" type="parTrans" cxnId="{6D3F5E70-4ABF-4D52-90C1-520CB0703B33}">
      <dgm:prSet/>
      <dgm:spPr/>
      <dgm:t>
        <a:bodyPr/>
        <a:lstStyle/>
        <a:p>
          <a:endParaRPr lang="fr-FR">
            <a:latin typeface="Corbel" panose="020B0503020204020204" pitchFamily="34" charset="0"/>
          </a:endParaRPr>
        </a:p>
      </dgm:t>
    </dgm:pt>
    <dgm:pt modelId="{8905A8D4-E309-45D8-A4BC-0D26895B2387}" type="sibTrans" cxnId="{6D3F5E70-4ABF-4D52-90C1-520CB0703B33}">
      <dgm:prSet/>
      <dgm:spPr/>
      <dgm:t>
        <a:bodyPr/>
        <a:lstStyle/>
        <a:p>
          <a:endParaRPr lang="fr-FR">
            <a:latin typeface="Corbel" panose="020B0503020204020204" pitchFamily="34" charset="0"/>
          </a:endParaRPr>
        </a:p>
      </dgm:t>
    </dgm:pt>
    <dgm:pt modelId="{325E89A9-01B6-48D2-B384-6B18A5234ADB}" type="pres">
      <dgm:prSet presAssocID="{A9B76ADE-6094-425D-8D9A-6AADCC607462}" presName="compositeShape" presStyleCnt="0">
        <dgm:presLayoutVars>
          <dgm:chMax val="7"/>
          <dgm:dir/>
          <dgm:resizeHandles val="exact"/>
        </dgm:presLayoutVars>
      </dgm:prSet>
      <dgm:spPr/>
    </dgm:pt>
    <dgm:pt modelId="{498039FD-F768-4651-9E91-57FCEB83B688}" type="pres">
      <dgm:prSet presAssocID="{5DD28C95-A000-4C28-BDBE-24E78C45643D}" presName="circ1" presStyleLbl="vennNode1" presStyleIdx="0" presStyleCnt="2" custScaleX="102267" custScaleY="47656" custLinFactNeighborX="-4386" custLinFactNeighborY="24024"/>
      <dgm:spPr/>
      <dgm:t>
        <a:bodyPr/>
        <a:lstStyle/>
        <a:p>
          <a:endParaRPr lang="fr-FR"/>
        </a:p>
      </dgm:t>
    </dgm:pt>
    <dgm:pt modelId="{6E4C6411-A803-4AAE-B41B-C7C4D00C0B9D}" type="pres">
      <dgm:prSet presAssocID="{5DD28C95-A000-4C28-BDBE-24E78C45643D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7C63954-7E2B-4FE8-95A4-004AD82B030A}" type="pres">
      <dgm:prSet presAssocID="{0FE557A0-E069-41A4-91A6-1EC55D2BDE6E}" presName="circ2" presStyleLbl="vennNode1" presStyleIdx="1" presStyleCnt="2" custScaleX="109124" custScaleY="108884" custLinFactNeighborX="-32727" custLinFactNeighborY="-1228"/>
      <dgm:spPr/>
      <dgm:t>
        <a:bodyPr/>
        <a:lstStyle/>
        <a:p>
          <a:endParaRPr lang="fr-FR"/>
        </a:p>
      </dgm:t>
    </dgm:pt>
    <dgm:pt modelId="{536D8587-5531-40AD-80D7-C2E8194B1185}" type="pres">
      <dgm:prSet presAssocID="{0FE557A0-E069-41A4-91A6-1EC55D2BDE6E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934165C2-1F70-4B97-8EDA-9FFA33C2F83F}" type="presOf" srcId="{5DD28C95-A000-4C28-BDBE-24E78C45643D}" destId="{6E4C6411-A803-4AAE-B41B-C7C4D00C0B9D}" srcOrd="1" destOrd="0" presId="urn:microsoft.com/office/officeart/2005/8/layout/venn1"/>
    <dgm:cxn modelId="{D9CA4116-C50A-4E5D-9CA2-611EA6E33341}" type="presOf" srcId="{0FE557A0-E069-41A4-91A6-1EC55D2BDE6E}" destId="{C7C63954-7E2B-4FE8-95A4-004AD82B030A}" srcOrd="0" destOrd="0" presId="urn:microsoft.com/office/officeart/2005/8/layout/venn1"/>
    <dgm:cxn modelId="{F399730D-1E06-4C61-9C16-DECCE7CF1DB6}" type="presOf" srcId="{0FE557A0-E069-41A4-91A6-1EC55D2BDE6E}" destId="{536D8587-5531-40AD-80D7-C2E8194B1185}" srcOrd="1" destOrd="0" presId="urn:microsoft.com/office/officeart/2005/8/layout/venn1"/>
    <dgm:cxn modelId="{6D3F5E70-4ABF-4D52-90C1-520CB0703B33}" srcId="{A9B76ADE-6094-425D-8D9A-6AADCC607462}" destId="{0FE557A0-E069-41A4-91A6-1EC55D2BDE6E}" srcOrd="1" destOrd="0" parTransId="{E5193959-A210-4D36-8456-BCD45DC89D8C}" sibTransId="{8905A8D4-E309-45D8-A4BC-0D26895B2387}"/>
    <dgm:cxn modelId="{1718AA1C-DB1E-4D87-90A3-A03096047FF0}" srcId="{A9B76ADE-6094-425D-8D9A-6AADCC607462}" destId="{5DD28C95-A000-4C28-BDBE-24E78C45643D}" srcOrd="0" destOrd="0" parTransId="{34164B9F-C778-467B-9D47-33E610B61C2E}" sibTransId="{3ED2CA69-7559-4355-8AA0-07383AF30329}"/>
    <dgm:cxn modelId="{0BB3AF44-E720-4B46-98C8-61F8D04A468E}" type="presOf" srcId="{5DD28C95-A000-4C28-BDBE-24E78C45643D}" destId="{498039FD-F768-4651-9E91-57FCEB83B688}" srcOrd="0" destOrd="0" presId="urn:microsoft.com/office/officeart/2005/8/layout/venn1"/>
    <dgm:cxn modelId="{6B1F6D17-0A4C-415A-B600-F34805A617A8}" type="presOf" srcId="{A9B76ADE-6094-425D-8D9A-6AADCC607462}" destId="{325E89A9-01B6-48D2-B384-6B18A5234ADB}" srcOrd="0" destOrd="0" presId="urn:microsoft.com/office/officeart/2005/8/layout/venn1"/>
    <dgm:cxn modelId="{EF793839-94BF-4339-A291-761C545F154F}" type="presParOf" srcId="{325E89A9-01B6-48D2-B384-6B18A5234ADB}" destId="{498039FD-F768-4651-9E91-57FCEB83B688}" srcOrd="0" destOrd="0" presId="urn:microsoft.com/office/officeart/2005/8/layout/venn1"/>
    <dgm:cxn modelId="{746087FF-8267-436B-B845-F2F7B4F33ECD}" type="presParOf" srcId="{325E89A9-01B6-48D2-B384-6B18A5234ADB}" destId="{6E4C6411-A803-4AAE-B41B-C7C4D00C0B9D}" srcOrd="1" destOrd="0" presId="urn:microsoft.com/office/officeart/2005/8/layout/venn1"/>
    <dgm:cxn modelId="{4BD899EE-A070-4611-AE60-1D48F10B3EEA}" type="presParOf" srcId="{325E89A9-01B6-48D2-B384-6B18A5234ADB}" destId="{C7C63954-7E2B-4FE8-95A4-004AD82B030A}" srcOrd="2" destOrd="0" presId="urn:microsoft.com/office/officeart/2005/8/layout/venn1"/>
    <dgm:cxn modelId="{83401824-D655-4ACC-9C6A-6F82C98A99A8}" type="presParOf" srcId="{325E89A9-01B6-48D2-B384-6B18A5234ADB}" destId="{536D8587-5531-40AD-80D7-C2E8194B1185}" srcOrd="3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9B76ADE-6094-425D-8D9A-6AADCC607462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5DD28C95-A000-4C28-BDBE-24E78C45643D}">
      <dgm:prSet phldrT="[Texte]" custT="1"/>
      <dgm:spPr>
        <a:solidFill>
          <a:srgbClr val="FF6600"/>
        </a:solidFill>
      </dgm:spPr>
      <dgm:t>
        <a:bodyPr anchor="t" anchorCtr="1"/>
        <a:lstStyle/>
        <a:p>
          <a:pPr marL="360363" indent="0" algn="l" defTabSz="896938">
            <a:tabLst>
              <a:tab pos="2154238" algn="l"/>
            </a:tabLst>
          </a:pPr>
          <a:r>
            <a:rPr lang="fr-FR" sz="4000" b="1" dirty="0" smtClean="0">
              <a:solidFill>
                <a:schemeClr val="accent4">
                  <a:lumMod val="20000"/>
                  <a:lumOff val="80000"/>
                </a:schemeClr>
              </a:solidFill>
              <a:latin typeface="Corbel" panose="020B0503020204020204" pitchFamily="34" charset="0"/>
            </a:rPr>
            <a:t>Résultats pertinents</a:t>
          </a:r>
        </a:p>
      </dgm:t>
    </dgm:pt>
    <dgm:pt modelId="{34164B9F-C778-467B-9D47-33E610B61C2E}" type="parTrans" cxnId="{1718AA1C-DB1E-4D87-90A3-A03096047FF0}">
      <dgm:prSet/>
      <dgm:spPr/>
      <dgm:t>
        <a:bodyPr/>
        <a:lstStyle/>
        <a:p>
          <a:endParaRPr lang="fr-FR"/>
        </a:p>
      </dgm:t>
    </dgm:pt>
    <dgm:pt modelId="{3ED2CA69-7559-4355-8AA0-07383AF30329}" type="sibTrans" cxnId="{1718AA1C-DB1E-4D87-90A3-A03096047FF0}">
      <dgm:prSet/>
      <dgm:spPr/>
      <dgm:t>
        <a:bodyPr/>
        <a:lstStyle/>
        <a:p>
          <a:endParaRPr lang="fr-FR"/>
        </a:p>
      </dgm:t>
    </dgm:pt>
    <dgm:pt modelId="{0FE557A0-E069-41A4-91A6-1EC55D2BDE6E}">
      <dgm:prSet phldrT="[Texte]" custT="1"/>
      <dgm:spPr>
        <a:solidFill>
          <a:srgbClr val="FFFF00">
            <a:alpha val="50000"/>
          </a:srgbClr>
        </a:solidFill>
      </dgm:spPr>
      <dgm:t>
        <a:bodyPr/>
        <a:lstStyle/>
        <a:p>
          <a:pPr marL="0" indent="0" algn="l"/>
          <a:r>
            <a:rPr lang="fr-FR" sz="3600" b="1" dirty="0" smtClean="0">
              <a:solidFill>
                <a:srgbClr val="C00000"/>
              </a:solidFill>
              <a:latin typeface="Corbel" panose="020B0503020204020204" pitchFamily="34" charset="0"/>
            </a:rPr>
            <a:t>Résultats obtenus</a:t>
          </a:r>
          <a:endParaRPr lang="fr-FR" sz="3600" b="1" dirty="0">
            <a:solidFill>
              <a:srgbClr val="C00000"/>
            </a:solidFill>
            <a:latin typeface="Corbel" panose="020B0503020204020204" pitchFamily="34" charset="0"/>
          </a:endParaRPr>
        </a:p>
      </dgm:t>
    </dgm:pt>
    <dgm:pt modelId="{E5193959-A210-4D36-8456-BCD45DC89D8C}" type="parTrans" cxnId="{6D3F5E70-4ABF-4D52-90C1-520CB0703B33}">
      <dgm:prSet/>
      <dgm:spPr/>
      <dgm:t>
        <a:bodyPr/>
        <a:lstStyle/>
        <a:p>
          <a:endParaRPr lang="fr-FR"/>
        </a:p>
      </dgm:t>
    </dgm:pt>
    <dgm:pt modelId="{8905A8D4-E309-45D8-A4BC-0D26895B2387}" type="sibTrans" cxnId="{6D3F5E70-4ABF-4D52-90C1-520CB0703B33}">
      <dgm:prSet/>
      <dgm:spPr/>
      <dgm:t>
        <a:bodyPr/>
        <a:lstStyle/>
        <a:p>
          <a:endParaRPr lang="fr-FR"/>
        </a:p>
      </dgm:t>
    </dgm:pt>
    <dgm:pt modelId="{325E89A9-01B6-48D2-B384-6B18A5234ADB}" type="pres">
      <dgm:prSet presAssocID="{A9B76ADE-6094-425D-8D9A-6AADCC607462}" presName="compositeShape" presStyleCnt="0">
        <dgm:presLayoutVars>
          <dgm:chMax val="7"/>
          <dgm:dir/>
          <dgm:resizeHandles val="exact"/>
        </dgm:presLayoutVars>
      </dgm:prSet>
      <dgm:spPr/>
    </dgm:pt>
    <dgm:pt modelId="{498039FD-F768-4651-9E91-57FCEB83B688}" type="pres">
      <dgm:prSet presAssocID="{5DD28C95-A000-4C28-BDBE-24E78C45643D}" presName="circ1" presStyleLbl="vennNode1" presStyleIdx="0" presStyleCnt="2" custScaleX="117621" custScaleY="120741" custLinFactNeighborX="10700" custLinFactNeighborY="11997"/>
      <dgm:spPr/>
      <dgm:t>
        <a:bodyPr/>
        <a:lstStyle/>
        <a:p>
          <a:endParaRPr lang="fr-FR"/>
        </a:p>
      </dgm:t>
    </dgm:pt>
    <dgm:pt modelId="{6E4C6411-A803-4AAE-B41B-C7C4D00C0B9D}" type="pres">
      <dgm:prSet presAssocID="{5DD28C95-A000-4C28-BDBE-24E78C45643D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7C63954-7E2B-4FE8-95A4-004AD82B030A}" type="pres">
      <dgm:prSet presAssocID="{0FE557A0-E069-41A4-91A6-1EC55D2BDE6E}" presName="circ2" presStyleLbl="vennNode1" presStyleIdx="1" presStyleCnt="2" custScaleX="87704" custScaleY="59503" custLinFactNeighborX="-97068" custLinFactNeighborY="26854"/>
      <dgm:spPr/>
      <dgm:t>
        <a:bodyPr/>
        <a:lstStyle/>
        <a:p>
          <a:endParaRPr lang="fr-FR"/>
        </a:p>
      </dgm:t>
    </dgm:pt>
    <dgm:pt modelId="{536D8587-5531-40AD-80D7-C2E8194B1185}" type="pres">
      <dgm:prSet presAssocID="{0FE557A0-E069-41A4-91A6-1EC55D2BDE6E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C730FAA1-A552-4BA8-AFF9-703E0AD5A881}" type="presOf" srcId="{0FE557A0-E069-41A4-91A6-1EC55D2BDE6E}" destId="{C7C63954-7E2B-4FE8-95A4-004AD82B030A}" srcOrd="0" destOrd="0" presId="urn:microsoft.com/office/officeart/2005/8/layout/venn1"/>
    <dgm:cxn modelId="{6D3F5E70-4ABF-4D52-90C1-520CB0703B33}" srcId="{A9B76ADE-6094-425D-8D9A-6AADCC607462}" destId="{0FE557A0-E069-41A4-91A6-1EC55D2BDE6E}" srcOrd="1" destOrd="0" parTransId="{E5193959-A210-4D36-8456-BCD45DC89D8C}" sibTransId="{8905A8D4-E309-45D8-A4BC-0D26895B2387}"/>
    <dgm:cxn modelId="{1718AA1C-DB1E-4D87-90A3-A03096047FF0}" srcId="{A9B76ADE-6094-425D-8D9A-6AADCC607462}" destId="{5DD28C95-A000-4C28-BDBE-24E78C45643D}" srcOrd="0" destOrd="0" parTransId="{34164B9F-C778-467B-9D47-33E610B61C2E}" sibTransId="{3ED2CA69-7559-4355-8AA0-07383AF30329}"/>
    <dgm:cxn modelId="{31CDD6E0-8564-4565-8401-7BCA8DB1DDC5}" type="presOf" srcId="{5DD28C95-A000-4C28-BDBE-24E78C45643D}" destId="{6E4C6411-A803-4AAE-B41B-C7C4D00C0B9D}" srcOrd="1" destOrd="0" presId="urn:microsoft.com/office/officeart/2005/8/layout/venn1"/>
    <dgm:cxn modelId="{6E12E137-26D2-4041-9A60-D13BCD7969D1}" type="presOf" srcId="{5DD28C95-A000-4C28-BDBE-24E78C45643D}" destId="{498039FD-F768-4651-9E91-57FCEB83B688}" srcOrd="0" destOrd="0" presId="urn:microsoft.com/office/officeart/2005/8/layout/venn1"/>
    <dgm:cxn modelId="{26087E0C-7520-4E47-A998-245A05FF3157}" type="presOf" srcId="{A9B76ADE-6094-425D-8D9A-6AADCC607462}" destId="{325E89A9-01B6-48D2-B384-6B18A5234ADB}" srcOrd="0" destOrd="0" presId="urn:microsoft.com/office/officeart/2005/8/layout/venn1"/>
    <dgm:cxn modelId="{3A7ACD76-E4B8-425C-9DF6-1C41976A02B0}" type="presOf" srcId="{0FE557A0-E069-41A4-91A6-1EC55D2BDE6E}" destId="{536D8587-5531-40AD-80D7-C2E8194B1185}" srcOrd="1" destOrd="0" presId="urn:microsoft.com/office/officeart/2005/8/layout/venn1"/>
    <dgm:cxn modelId="{7D5453F6-D17D-46C4-BBC3-B49C50D74788}" type="presParOf" srcId="{325E89A9-01B6-48D2-B384-6B18A5234ADB}" destId="{498039FD-F768-4651-9E91-57FCEB83B688}" srcOrd="0" destOrd="0" presId="urn:microsoft.com/office/officeart/2005/8/layout/venn1"/>
    <dgm:cxn modelId="{78B52992-B56D-4A2D-9A14-6A861D1DED85}" type="presParOf" srcId="{325E89A9-01B6-48D2-B384-6B18A5234ADB}" destId="{6E4C6411-A803-4AAE-B41B-C7C4D00C0B9D}" srcOrd="1" destOrd="0" presId="urn:microsoft.com/office/officeart/2005/8/layout/venn1"/>
    <dgm:cxn modelId="{A09B2DEE-FF46-4F2F-BD8A-23F22F658062}" type="presParOf" srcId="{325E89A9-01B6-48D2-B384-6B18A5234ADB}" destId="{C7C63954-7E2B-4FE8-95A4-004AD82B030A}" srcOrd="2" destOrd="0" presId="urn:microsoft.com/office/officeart/2005/8/layout/venn1"/>
    <dgm:cxn modelId="{C54119FF-0615-44B1-B689-7C88FFD2B941}" type="presParOf" srcId="{325E89A9-01B6-48D2-B384-6B18A5234ADB}" destId="{536D8587-5531-40AD-80D7-C2E8194B1185}" srcOrd="3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orbel" panose="020B0503020204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orbel" panose="020B0503020204020204" pitchFamily="34" charset="0"/>
              </a:defRPr>
            </a:lvl1pPr>
          </a:lstStyle>
          <a:p>
            <a:fld id="{91E9DC1B-7AD4-4493-BE2D-19F04AF919E8}" type="datetimeFigureOut">
              <a:rPr lang="fr-FR" smtClean="0"/>
              <a:pPr/>
              <a:t>15/06/2022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orbel" panose="020B0503020204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orbel" panose="020B0503020204020204" pitchFamily="34" charset="0"/>
              </a:defRPr>
            </a:lvl1pPr>
          </a:lstStyle>
          <a:p>
            <a:fld id="{0145B376-959C-4F10-BF50-4FF0FAF5ADD9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066916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45B376-959C-4F10-BF50-4FF0FAF5ADD9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820279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719716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735835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839741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22236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625446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029200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1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7040187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2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30578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2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9789752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2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760267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45B376-959C-4F10-BF50-4FF0FAF5ADD9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039518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2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8933598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4909963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45B376-959C-4F10-BF50-4FF0FAF5ADD9}" type="slidenum">
              <a:rPr lang="fr-FR" smtClean="0"/>
              <a:pPr/>
              <a:t>2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894379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45B376-959C-4F10-BF50-4FF0FAF5ADD9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461641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45B376-959C-4F10-BF50-4FF0FAF5ADD9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071283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45B376-959C-4F10-BF50-4FF0FAF5ADD9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12997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45B376-959C-4F10-BF50-4FF0FAF5ADD9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19731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080946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01858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739275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6BB3F5-7F95-443B-9EA3-5D030DF8A9DE}" type="slidenum">
              <a:rPr lang="fr-FR" smtClean="0"/>
              <a:pPr>
                <a:defRPr/>
              </a:pPr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444419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 smtClean="0"/>
              <a:t>Modifiez le style des sous-titres du masque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C2DEA8B0-7000-4F56-89DA-1A2E78E220B4}" type="datetime1">
              <a:rPr lang="fr-FR" smtClean="0"/>
              <a:t>15/06/2022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603605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B2329BA9-74B0-466E-A77B-208F66C250EC}" type="datetime1">
              <a:rPr lang="fr-FR" smtClean="0"/>
              <a:t>15/06/2022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172881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24D1E629-5F33-4529-9772-BE199F08EA72}" type="datetime1">
              <a:rPr lang="fr-FR" smtClean="0"/>
              <a:t>15/06/2022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61413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Calibri" panose="020F0502020204030204" pitchFamily="34" charset="0"/>
              <a:buChar char="→"/>
              <a:defRPr>
                <a:latin typeface="Corbel" panose="020B0503020204020204" pitchFamily="34" charset="0"/>
              </a:defRPr>
            </a:lvl1pPr>
            <a:lvl2pPr marL="685800" indent="-228600">
              <a:buFont typeface="Corbel" panose="020B0503020204020204" pitchFamily="34" charset="0"/>
              <a:buChar char="›"/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B5EC2883-D47A-4F5D-8057-23A534672283}" type="datetime1">
              <a:rPr lang="fr-FR" smtClean="0"/>
              <a:t>15/06/2022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r>
              <a:rPr lang="fr-FR" smtClean="0"/>
              <a:t>F. Flamerie - Recherche doc - 2022-05-03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99E13252-68E5-4994-B57B-B03F39B52C7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683524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9E64C92B-9F9E-4295-9EAB-C3F443C285AC}" type="datetime1">
              <a:rPr lang="fr-FR" smtClean="0"/>
              <a:t>15/06/2022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61503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marL="228600" indent="-228600">
              <a:buFont typeface="Calibri" panose="020F0502020204030204" pitchFamily="34" charset="0"/>
              <a:buChar char="→"/>
              <a:defRPr>
                <a:latin typeface="Corbel" panose="020B0503020204020204" pitchFamily="34" charset="0"/>
              </a:defRPr>
            </a:lvl1pPr>
            <a:lvl2pPr marL="685800" indent="-228600">
              <a:buFont typeface="Corbel" panose="020B0503020204020204" pitchFamily="34" charset="0"/>
              <a:buChar char="›"/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  <a:lvl2pPr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B667F2F6-99F8-4B20-A640-51FA4449DC35}" type="datetime1">
              <a:rPr lang="fr-FR" smtClean="0"/>
              <a:t>15/06/2022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49245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124744AC-22DA-48D9-8DB9-BCBA16F3CE5B}" type="datetime1">
              <a:rPr lang="fr-FR" smtClean="0"/>
              <a:t>15/06/2022</a:t>
            </a:fld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28080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E90A50AD-2EC6-4145-A85A-5061A8C2B478}" type="datetime1">
              <a:rPr lang="fr-FR" smtClean="0"/>
              <a:t>15/06/2022</a:t>
            </a:fld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089154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AA062374-8034-4126-9AA3-C55F528380D6}" type="datetime1">
              <a:rPr lang="fr-FR" smtClean="0"/>
              <a:t>15/06/2022</a:t>
            </a:fld>
            <a:endParaRPr lang="fr-FR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542037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E4C50021-1119-4141-AC89-B6C015653AFA}" type="datetime1">
              <a:rPr lang="fr-FR" smtClean="0"/>
              <a:t>15/06/2022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536194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F56F4C1B-4C2B-48C6-A443-C631AB0E77AC}" type="datetime1">
              <a:rPr lang="fr-FR" smtClean="0"/>
              <a:t>15/06/2022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10368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orbel" panose="020B0503020204020204" pitchFamily="34" charset="0"/>
              </a:defRPr>
            </a:lvl1pPr>
          </a:lstStyle>
          <a:p>
            <a:r>
              <a:rPr lang="fr-FR" dirty="0" smtClean="0"/>
              <a:t>F. Flamerie - Recherche doc - 2022-05-03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orbel" panose="020B0503020204020204" pitchFamily="34" charset="0"/>
              </a:defRPr>
            </a:lvl1pPr>
          </a:lstStyle>
          <a:p>
            <a:fld id="{99E13252-68E5-4994-B57B-B03F39B52C7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45307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Calibri" panose="020F0502020204030204" pitchFamily="34" charset="0"/>
        <a:buChar char="→"/>
        <a:defRPr sz="2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orbel" panose="020B0503020204020204" pitchFamily="34" charset="0"/>
        <a:buChar char="›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://creativecommons.org/licenses/by-sa/3.0/fr/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busec2.u-bordeaux.fr/atrel/?nocas" TargetMode="External"/><Relationship Id="rId2" Type="http://schemas.openxmlformats.org/officeDocument/2006/relationships/hyperlink" Target="https://insermbiblio.inist.fr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g"/><Relationship Id="rId5" Type="http://schemas.openxmlformats.org/officeDocument/2006/relationships/image" Target="../media/image6.png"/><Relationship Id="rId4" Type="http://schemas.openxmlformats.org/officeDocument/2006/relationships/hyperlink" Target="https://babordplus.hosted.exlibrisgroup.com/primo-explore/search?vid=33PUDB_UB_VU1&amp;lang=fr_FR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notesSlide" Target="../notesSlides/notesSlide13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02/jrsm.1378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fflamerie/bibliolog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bibliotheques.u-bordeaux.fr/Se-former/Les-tutoriels/Acceder-aux-ressources-numeriques" TargetMode="Externa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clickandread.inist.fr/" TargetMode="Externa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doi.org/10.1002/jrsm.1457" TargetMode="Externa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www.isped.u-bordeaux.fr/Portals/0/TELECHARGEMENT/Rubrique_ESPACE_DOC/DOC_Tuto_Trouver_Texte_Integral.pdf" TargetMode="External"/><Relationship Id="rId4" Type="http://schemas.openxmlformats.org/officeDocument/2006/relationships/image" Target="../media/image1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sped.u-bordeaux.fr/Portals/0/TELECHARGEMENT/Rubrique_ESPACE_DOC/DOC_Tuto_Zotero_Openurl_v2.pdf" TargetMode="External"/><Relationship Id="rId2" Type="http://schemas.openxmlformats.org/officeDocument/2006/relationships/hyperlink" Target="http://www.isped.u-bordeaux.fr/VIE-ETUDIANTE/Espace-documentation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isped.u-bordeaux.fr/Portals/0/TELECHARGEMENT/Rubrique_ESPACE_DOC/DOC_Tuto_EndNote_FindFullText_UB.pdf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isped.u-bordeaux.fr/Portals/0/TELECHARGEMENT/Rubrique_ESPACE_DOC/DOC_Tuto_Trouver_Texte_Integral.pdf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citationgecko.com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gdt.oqlf.gouv.qc.ca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hetop.eu/hetop/" TargetMode="External"/><Relationship Id="rId5" Type="http://schemas.openxmlformats.org/officeDocument/2006/relationships/hyperlink" Target="https://www.loterre.fr/skosmos/TSP/fr" TargetMode="External"/><Relationship Id="rId4" Type="http://schemas.openxmlformats.org/officeDocument/2006/relationships/hyperlink" Target="http://dictionnaire.academie-medecine.fr/index.php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60029" y="1921695"/>
            <a:ext cx="10107971" cy="2387600"/>
          </a:xfrm>
        </p:spPr>
        <p:txBody>
          <a:bodyPr>
            <a:normAutofit fontScale="90000"/>
          </a:bodyPr>
          <a:lstStyle/>
          <a:p>
            <a:pPr algn="l"/>
            <a:r>
              <a:rPr lang="fr-FR" dirty="0"/>
              <a:t>Les fondamentaux de </a:t>
            </a:r>
            <a:r>
              <a:rPr lang="fr-FR" dirty="0" smtClean="0"/>
              <a:t>la recherche </a:t>
            </a:r>
            <a:r>
              <a:rPr lang="fr-FR" dirty="0"/>
              <a:t>documentaire : méthode et outils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60029" y="4369619"/>
            <a:ext cx="9144000" cy="1655762"/>
          </a:xfrm>
        </p:spPr>
        <p:txBody>
          <a:bodyPr/>
          <a:lstStyle/>
          <a:p>
            <a:pPr algn="l"/>
            <a:r>
              <a:rPr lang="fr-FR" dirty="0" smtClean="0"/>
              <a:t>Module 1.1 </a:t>
            </a:r>
            <a:endParaRPr lang="fr-FR" dirty="0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953729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 dirty="0">
              <a:latin typeface="Corbel" panose="020B0503020204020204" pitchFamily="34" charset="0"/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029" y="6181597"/>
            <a:ext cx="1227411" cy="429442"/>
          </a:xfrm>
          <a:prstGeom prst="rect">
            <a:avLst/>
          </a:prstGeom>
        </p:spPr>
      </p:pic>
      <p:sp>
        <p:nvSpPr>
          <p:cNvPr id="6" name="ZoneTexte 5"/>
          <p:cNvSpPr txBox="1"/>
          <p:nvPr/>
        </p:nvSpPr>
        <p:spPr>
          <a:xfrm>
            <a:off x="1882322" y="6126478"/>
            <a:ext cx="93863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</a:rPr>
              <a:t>Ce contenu est mis à disposition selon les termes de la 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  <a:hlinkClick r:id="rId4"/>
              </a:rPr>
              <a:t>Licence </a:t>
            </a:r>
            <a:r>
              <a:rPr lang="fr-FR" sz="1600" dirty="0" err="1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  <a:hlinkClick r:id="rId4"/>
              </a:rPr>
              <a:t>Creativ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  <a:hlinkClick r:id="rId4"/>
              </a:rPr>
              <a:t> Commons Attribution - Partage dans les Mêmes Conditions 3.0 Franc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Corbel" panose="020B0503020204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368841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8" name="Text Box 20"/>
          <p:cNvSpPr txBox="1">
            <a:spLocks noChangeArrowheads="1"/>
          </p:cNvSpPr>
          <p:nvPr/>
        </p:nvSpPr>
        <p:spPr bwMode="auto">
          <a:xfrm>
            <a:off x="498586" y="314720"/>
            <a:ext cx="9036050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yntaxe </a:t>
            </a:r>
            <a:r>
              <a:rPr lang="fr-FR" sz="4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les opérateurs booléens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175166" y="1468840"/>
            <a:ext cx="5015399" cy="3980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5600" indent="-355600">
              <a:buFont typeface="Arial" panose="020B0604020202020204" pitchFamily="34" charset="0"/>
              <a:buChar char="•"/>
            </a:pPr>
            <a:r>
              <a:rPr lang="fr-FR" sz="3200" b="1" dirty="0">
                <a:solidFill>
                  <a:srgbClr val="009DE0"/>
                </a:solidFill>
                <a:latin typeface="Corbel" panose="020B0503020204020204" pitchFamily="34" charset="0"/>
              </a:rPr>
              <a:t>ET</a:t>
            </a:r>
            <a:r>
              <a:rPr lang="fr-FR" sz="2800" b="1" dirty="0">
                <a:solidFill>
                  <a:srgbClr val="0000FF"/>
                </a:solidFill>
                <a:latin typeface="Corbel" panose="020B0503020204020204" pitchFamily="34" charset="0"/>
              </a:rPr>
              <a:t> </a:t>
            </a:r>
            <a:r>
              <a:rPr lang="fr-FR" sz="2800" dirty="0">
                <a:latin typeface="Corbel" panose="020B0503020204020204" pitchFamily="34" charset="0"/>
              </a:rPr>
              <a:t>(AND) : pour les termes </a:t>
            </a:r>
            <a:r>
              <a:rPr lang="fr-FR" sz="2800" b="1" dirty="0">
                <a:solidFill>
                  <a:srgbClr val="009DE0"/>
                </a:solidFill>
                <a:latin typeface="Corbel" panose="020B0503020204020204" pitchFamily="34" charset="0"/>
              </a:rPr>
              <a:t>complémentaires</a:t>
            </a:r>
            <a:r>
              <a:rPr lang="fr-FR" sz="2800" dirty="0">
                <a:latin typeface="Corbel" panose="020B0503020204020204" pitchFamily="34" charset="0"/>
              </a:rPr>
              <a:t> = </a:t>
            </a:r>
            <a:r>
              <a:rPr lang="fr-FR" sz="2800" b="1" dirty="0">
                <a:solidFill>
                  <a:srgbClr val="009DE0"/>
                </a:solidFill>
                <a:latin typeface="Corbel" panose="020B0503020204020204" pitchFamily="34" charset="0"/>
              </a:rPr>
              <a:t>restreindre</a:t>
            </a:r>
            <a:r>
              <a:rPr lang="fr-FR" sz="2800" dirty="0">
                <a:latin typeface="Corbel" panose="020B0503020204020204" pitchFamily="34" charset="0"/>
              </a:rPr>
              <a:t> la recherche</a:t>
            </a:r>
          </a:p>
          <a:p>
            <a:pPr marL="355600" indent="-3556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fr-FR" sz="3200" b="1" dirty="0">
                <a:solidFill>
                  <a:srgbClr val="009DE0"/>
                </a:solidFill>
                <a:latin typeface="Corbel" panose="020B0503020204020204" pitchFamily="34" charset="0"/>
              </a:rPr>
              <a:t>OU</a:t>
            </a:r>
            <a:r>
              <a:rPr lang="fr-FR" sz="2800" dirty="0">
                <a:latin typeface="Corbel" panose="020B0503020204020204" pitchFamily="34" charset="0"/>
              </a:rPr>
              <a:t> (OR): pour les termes </a:t>
            </a:r>
            <a:r>
              <a:rPr lang="fr-FR" sz="2800" b="1" dirty="0">
                <a:solidFill>
                  <a:srgbClr val="009DE0"/>
                </a:solidFill>
                <a:latin typeface="Corbel" panose="020B0503020204020204" pitchFamily="34" charset="0"/>
              </a:rPr>
              <a:t>équivalents</a:t>
            </a:r>
            <a:r>
              <a:rPr lang="fr-FR" sz="2800" dirty="0">
                <a:latin typeface="Corbel" panose="020B0503020204020204" pitchFamily="34" charset="0"/>
              </a:rPr>
              <a:t> = </a:t>
            </a:r>
            <a:r>
              <a:rPr lang="fr-FR" sz="2800" b="1" dirty="0">
                <a:solidFill>
                  <a:srgbClr val="009DE0"/>
                </a:solidFill>
                <a:latin typeface="Corbel" panose="020B0503020204020204" pitchFamily="34" charset="0"/>
              </a:rPr>
              <a:t>élargir</a:t>
            </a:r>
            <a:r>
              <a:rPr lang="fr-FR" sz="2800" dirty="0">
                <a:latin typeface="Corbel" panose="020B0503020204020204" pitchFamily="34" charset="0"/>
              </a:rPr>
              <a:t> la recherche</a:t>
            </a:r>
          </a:p>
          <a:p>
            <a:pPr marL="355600" indent="-3556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fr-FR" sz="3200" b="1" dirty="0">
                <a:solidFill>
                  <a:srgbClr val="009DE0"/>
                </a:solidFill>
                <a:latin typeface="Corbel" panose="020B0503020204020204" pitchFamily="34" charset="0"/>
              </a:rPr>
              <a:t>SAUF</a:t>
            </a:r>
            <a:r>
              <a:rPr lang="fr-FR" sz="2800" dirty="0">
                <a:latin typeface="Corbel" panose="020B0503020204020204" pitchFamily="34" charset="0"/>
              </a:rPr>
              <a:t> (NOT) : exclusion = </a:t>
            </a:r>
            <a:r>
              <a:rPr lang="fr-FR" sz="2800" b="1" dirty="0">
                <a:solidFill>
                  <a:srgbClr val="009DE0"/>
                </a:solidFill>
                <a:latin typeface="Corbel" panose="020B0503020204020204" pitchFamily="34" charset="0"/>
              </a:rPr>
              <a:t>restreindre</a:t>
            </a:r>
            <a:r>
              <a:rPr lang="fr-FR" sz="2800" dirty="0">
                <a:latin typeface="Corbel" panose="020B0503020204020204" pitchFamily="34" charset="0"/>
              </a:rPr>
              <a:t> la recherche</a:t>
            </a:r>
          </a:p>
        </p:txBody>
      </p:sp>
      <p:pic>
        <p:nvPicPr>
          <p:cNvPr id="1026" name="Picture 2" descr="Boolean logic"/>
          <p:cNvPicPr>
            <a:picLocks noChangeAspect="1" noChangeArrowheads="1"/>
          </p:cNvPicPr>
          <p:nvPr/>
        </p:nvPicPr>
        <p:blipFill>
          <a:blip r:embed="rId3" cstate="print"/>
          <a:srcRect t="13440"/>
          <a:stretch>
            <a:fillRect/>
          </a:stretch>
        </p:blipFill>
        <p:spPr bwMode="auto">
          <a:xfrm>
            <a:off x="5519937" y="1268760"/>
            <a:ext cx="4917853" cy="4789016"/>
          </a:xfrm>
          <a:prstGeom prst="rect">
            <a:avLst/>
          </a:prstGeom>
          <a:noFill/>
        </p:spPr>
      </p:pic>
      <p:sp>
        <p:nvSpPr>
          <p:cNvPr id="10" name="ZoneTexte 9"/>
          <p:cNvSpPr txBox="1"/>
          <p:nvPr/>
        </p:nvSpPr>
        <p:spPr>
          <a:xfrm>
            <a:off x="7970338" y="6356350"/>
            <a:ext cx="33834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rPr>
              <a:t>Source Image : The story of mathematics - http://www.storyofmathematics.com/19th_boole.html</a:t>
            </a:r>
          </a:p>
        </p:txBody>
      </p:sp>
      <p:cxnSp>
        <p:nvCxnSpPr>
          <p:cNvPr id="4" name="Connecteur droit 3"/>
          <p:cNvCxnSpPr/>
          <p:nvPr/>
        </p:nvCxnSpPr>
        <p:spPr>
          <a:xfrm>
            <a:off x="1201271" y="4365812"/>
            <a:ext cx="1237129" cy="1201270"/>
          </a:xfrm>
          <a:prstGeom prst="line">
            <a:avLst/>
          </a:prstGeom>
          <a:ln w="63500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/>
          <p:cNvCxnSpPr/>
          <p:nvPr/>
        </p:nvCxnSpPr>
        <p:spPr>
          <a:xfrm flipV="1">
            <a:off x="1093694" y="4282283"/>
            <a:ext cx="1730442" cy="1275835"/>
          </a:xfrm>
          <a:prstGeom prst="line">
            <a:avLst/>
          </a:prstGeom>
          <a:ln w="63500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pied de page 11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2-05-03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99340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8" name="Text Box 20"/>
          <p:cNvSpPr txBox="1">
            <a:spLocks noChangeArrowheads="1"/>
          </p:cNvSpPr>
          <p:nvPr/>
        </p:nvSpPr>
        <p:spPr bwMode="auto">
          <a:xfrm>
            <a:off x="1524000" y="0"/>
            <a:ext cx="9144000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yntaxe </a:t>
            </a:r>
            <a:r>
              <a:rPr lang="fr-FR" sz="4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guillemets et parenthèses</a:t>
            </a:r>
          </a:p>
        </p:txBody>
      </p:sp>
      <p:sp>
        <p:nvSpPr>
          <p:cNvPr id="12" name="Forme libre 11"/>
          <p:cNvSpPr/>
          <p:nvPr/>
        </p:nvSpPr>
        <p:spPr>
          <a:xfrm>
            <a:off x="1052636" y="985517"/>
            <a:ext cx="9728140" cy="1609134"/>
          </a:xfrm>
          <a:custGeom>
            <a:avLst/>
            <a:gdLst>
              <a:gd name="connsiteX0" fmla="*/ 0 w 8343759"/>
              <a:gd name="connsiteY0" fmla="*/ 0 h 1405407"/>
              <a:gd name="connsiteX1" fmla="*/ 8343759 w 8343759"/>
              <a:gd name="connsiteY1" fmla="*/ 0 h 1405407"/>
              <a:gd name="connsiteX2" fmla="*/ 8343759 w 8343759"/>
              <a:gd name="connsiteY2" fmla="*/ 1405407 h 1405407"/>
              <a:gd name="connsiteX3" fmla="*/ 0 w 8343759"/>
              <a:gd name="connsiteY3" fmla="*/ 1405407 h 1405407"/>
              <a:gd name="connsiteX4" fmla="*/ 0 w 8343759"/>
              <a:gd name="connsiteY4" fmla="*/ 0 h 1405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43759" h="1405407">
                <a:moveTo>
                  <a:pt x="0" y="0"/>
                </a:moveTo>
                <a:lnTo>
                  <a:pt x="8343759" y="0"/>
                </a:lnTo>
                <a:lnTo>
                  <a:pt x="8343759" y="1405407"/>
                </a:lnTo>
                <a:lnTo>
                  <a:pt x="0" y="140540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3">
              <a:alpha val="90000"/>
              <a:hueOff val="0"/>
              <a:satOff val="0"/>
              <a:lumOff val="0"/>
              <a:alphaOff val="0"/>
            </a:schemeClr>
          </a:fillRef>
          <a:effectRef idx="1">
            <a:schemeClr val="accent3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839700" tIns="45720" rIns="45720" bIns="45720" numCol="1" spcCol="1270" anchor="ctr" anchorCtr="0">
            <a:noAutofit/>
          </a:bodyPr>
          <a:lstStyle/>
          <a:p>
            <a:pPr defTabSz="800100">
              <a:lnSpc>
                <a:spcPct val="90000"/>
              </a:lnSpc>
              <a:spcAft>
                <a:spcPct val="35000"/>
              </a:spcAft>
              <a:tabLst>
                <a:tab pos="354013" algn="l"/>
              </a:tabLst>
            </a:pPr>
            <a:r>
              <a:rPr lang="fr-FR" sz="2400" b="1" dirty="0" smtClean="0">
                <a:latin typeface="Corbel" panose="020B0503020204020204" pitchFamily="34" charset="0"/>
                <a:cs typeface="Arial" pitchFamily="34" charset="0"/>
              </a:rPr>
              <a:t>	LES </a:t>
            </a:r>
            <a:r>
              <a:rPr lang="fr-FR" sz="2400" b="1" dirty="0">
                <a:latin typeface="Corbel" panose="020B0503020204020204" pitchFamily="34" charset="0"/>
                <a:cs typeface="Arial" pitchFamily="34" charset="0"/>
              </a:rPr>
              <a:t>GUILLEMETS </a:t>
            </a:r>
            <a:r>
              <a:rPr lang="fr-FR" sz="2400" b="1" dirty="0" smtClean="0">
                <a:latin typeface="Corbel" panose="020B0503020204020204" pitchFamily="34" charset="0"/>
                <a:cs typeface="Arial" pitchFamily="34" charset="0"/>
              </a:rPr>
              <a:t>: </a:t>
            </a:r>
            <a:r>
              <a:rPr lang="fr-FR" sz="2400" dirty="0" smtClean="0">
                <a:latin typeface="Corbel" panose="020B0503020204020204" pitchFamily="34" charset="0"/>
                <a:cs typeface="Arial" pitchFamily="34" charset="0"/>
              </a:rPr>
              <a:t>pour </a:t>
            </a:r>
            <a:r>
              <a:rPr lang="fr-FR" sz="2400" dirty="0">
                <a:latin typeface="Corbel" panose="020B0503020204020204" pitchFamily="34" charset="0"/>
                <a:cs typeface="Arial" pitchFamily="34" charset="0"/>
              </a:rPr>
              <a:t>rechercher une</a:t>
            </a:r>
            <a:r>
              <a:rPr lang="fr-FR" sz="2400" b="1" dirty="0">
                <a:latin typeface="Corbel" panose="020B0503020204020204" pitchFamily="34" charset="0"/>
                <a:cs typeface="Arial" pitchFamily="34" charset="0"/>
              </a:rPr>
              <a:t> expression exacte</a:t>
            </a:r>
          </a:p>
          <a:p>
            <a:pPr defTabSz="800100">
              <a:lnSpc>
                <a:spcPct val="90000"/>
              </a:lnSpc>
              <a:spcAft>
                <a:spcPct val="35000"/>
              </a:spcAft>
            </a:pPr>
            <a:r>
              <a:rPr lang="fr-FR" sz="2400" b="1" dirty="0">
                <a:latin typeface="Corbel" panose="020B0503020204020204" pitchFamily="34" charset="0"/>
                <a:cs typeface="Arial" pitchFamily="34" charset="0"/>
              </a:rPr>
              <a:t>	"psychologie cognitive" </a:t>
            </a:r>
          </a:p>
        </p:txBody>
      </p:sp>
      <p:grpSp>
        <p:nvGrpSpPr>
          <p:cNvPr id="13" name="Quote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377010" y="1385696"/>
            <a:ext cx="643593" cy="542925"/>
            <a:chOff x="2863" y="1396"/>
            <a:chExt cx="1886" cy="1591"/>
          </a:xfrm>
          <a:solidFill>
            <a:srgbClr val="0000CC"/>
          </a:solidFill>
        </p:grpSpPr>
        <p:sp>
          <p:nvSpPr>
            <p:cNvPr id="14" name="Freeform 544"/>
            <p:cNvSpPr>
              <a:spLocks/>
            </p:cNvSpPr>
            <p:nvPr/>
          </p:nvSpPr>
          <p:spPr bwMode="auto">
            <a:xfrm>
              <a:off x="3983" y="1396"/>
              <a:ext cx="766" cy="1591"/>
            </a:xfrm>
            <a:custGeom>
              <a:avLst/>
              <a:gdLst>
                <a:gd name="T0" fmla="*/ 143 w 193"/>
                <a:gd name="T1" fmla="*/ 20 h 400"/>
                <a:gd name="T2" fmla="*/ 130 w 193"/>
                <a:gd name="T3" fmla="*/ 11 h 400"/>
                <a:gd name="T4" fmla="*/ 129 w 193"/>
                <a:gd name="T5" fmla="*/ 11 h 400"/>
                <a:gd name="T6" fmla="*/ 128 w 193"/>
                <a:gd name="T7" fmla="*/ 10 h 400"/>
                <a:gd name="T8" fmla="*/ 118 w 193"/>
                <a:gd name="T9" fmla="*/ 6 h 400"/>
                <a:gd name="T10" fmla="*/ 119 w 193"/>
                <a:gd name="T11" fmla="*/ 6 h 400"/>
                <a:gd name="T12" fmla="*/ 89 w 193"/>
                <a:gd name="T13" fmla="*/ 0 h 400"/>
                <a:gd name="T14" fmla="*/ 3 w 193"/>
                <a:gd name="T15" fmla="*/ 87 h 400"/>
                <a:gd name="T16" fmla="*/ 89 w 193"/>
                <a:gd name="T17" fmla="*/ 175 h 400"/>
                <a:gd name="T18" fmla="*/ 130 w 193"/>
                <a:gd name="T19" fmla="*/ 163 h 400"/>
                <a:gd name="T20" fmla="*/ 14 w 193"/>
                <a:gd name="T21" fmla="*/ 348 h 400"/>
                <a:gd name="T22" fmla="*/ 9 w 193"/>
                <a:gd name="T23" fmla="*/ 389 h 400"/>
                <a:gd name="T24" fmla="*/ 32 w 193"/>
                <a:gd name="T25" fmla="*/ 400 h 400"/>
                <a:gd name="T26" fmla="*/ 49 w 193"/>
                <a:gd name="T27" fmla="*/ 394 h 400"/>
                <a:gd name="T28" fmla="*/ 187 w 193"/>
                <a:gd name="T29" fmla="*/ 161 h 400"/>
                <a:gd name="T30" fmla="*/ 149 w 193"/>
                <a:gd name="T31" fmla="*/ 26 h 400"/>
                <a:gd name="T32" fmla="*/ 143 w 193"/>
                <a:gd name="T33" fmla="*/ 2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3" h="400">
                  <a:moveTo>
                    <a:pt x="143" y="20"/>
                  </a:moveTo>
                  <a:cubicBezTo>
                    <a:pt x="138" y="16"/>
                    <a:pt x="134" y="13"/>
                    <a:pt x="130" y="11"/>
                  </a:cubicBezTo>
                  <a:cubicBezTo>
                    <a:pt x="129" y="11"/>
                    <a:pt x="129" y="11"/>
                    <a:pt x="129" y="11"/>
                  </a:cubicBezTo>
                  <a:cubicBezTo>
                    <a:pt x="129" y="10"/>
                    <a:pt x="129" y="10"/>
                    <a:pt x="128" y="10"/>
                  </a:cubicBezTo>
                  <a:cubicBezTo>
                    <a:pt x="122" y="7"/>
                    <a:pt x="118" y="6"/>
                    <a:pt x="118" y="6"/>
                  </a:cubicBezTo>
                  <a:lnTo>
                    <a:pt x="119" y="6"/>
                  </a:lnTo>
                  <a:cubicBezTo>
                    <a:pt x="109" y="3"/>
                    <a:pt x="100" y="0"/>
                    <a:pt x="89" y="0"/>
                  </a:cubicBezTo>
                  <a:cubicBezTo>
                    <a:pt x="42" y="0"/>
                    <a:pt x="3" y="39"/>
                    <a:pt x="3" y="87"/>
                  </a:cubicBezTo>
                  <a:cubicBezTo>
                    <a:pt x="3" y="136"/>
                    <a:pt x="42" y="175"/>
                    <a:pt x="89" y="175"/>
                  </a:cubicBezTo>
                  <a:cubicBezTo>
                    <a:pt x="104" y="175"/>
                    <a:pt x="118" y="171"/>
                    <a:pt x="130" y="163"/>
                  </a:cubicBezTo>
                  <a:cubicBezTo>
                    <a:pt x="126" y="210"/>
                    <a:pt x="102" y="279"/>
                    <a:pt x="14" y="348"/>
                  </a:cubicBezTo>
                  <a:cubicBezTo>
                    <a:pt x="2" y="358"/>
                    <a:pt x="0" y="376"/>
                    <a:pt x="9" y="389"/>
                  </a:cubicBezTo>
                  <a:cubicBezTo>
                    <a:pt x="15" y="396"/>
                    <a:pt x="23" y="400"/>
                    <a:pt x="32" y="400"/>
                  </a:cubicBezTo>
                  <a:cubicBezTo>
                    <a:pt x="38" y="400"/>
                    <a:pt x="44" y="398"/>
                    <a:pt x="49" y="394"/>
                  </a:cubicBezTo>
                  <a:cubicBezTo>
                    <a:pt x="157" y="308"/>
                    <a:pt x="184" y="220"/>
                    <a:pt x="187" y="161"/>
                  </a:cubicBezTo>
                  <a:cubicBezTo>
                    <a:pt x="193" y="86"/>
                    <a:pt x="170" y="47"/>
                    <a:pt x="149" y="26"/>
                  </a:cubicBezTo>
                  <a:cubicBezTo>
                    <a:pt x="147" y="24"/>
                    <a:pt x="145" y="22"/>
                    <a:pt x="143" y="20"/>
                  </a:cubicBezTo>
                </a:path>
              </a:pathLst>
            </a:custGeom>
            <a:solidFill>
              <a:srgbClr val="009D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15" name="Freeform 545"/>
            <p:cNvSpPr>
              <a:spLocks/>
            </p:cNvSpPr>
            <p:nvPr/>
          </p:nvSpPr>
          <p:spPr bwMode="auto">
            <a:xfrm>
              <a:off x="2863" y="1396"/>
              <a:ext cx="770" cy="1591"/>
            </a:xfrm>
            <a:custGeom>
              <a:avLst/>
              <a:gdLst>
                <a:gd name="T0" fmla="*/ 143 w 194"/>
                <a:gd name="T1" fmla="*/ 20 h 400"/>
                <a:gd name="T2" fmla="*/ 130 w 194"/>
                <a:gd name="T3" fmla="*/ 11 h 400"/>
                <a:gd name="T4" fmla="*/ 129 w 194"/>
                <a:gd name="T5" fmla="*/ 11 h 400"/>
                <a:gd name="T6" fmla="*/ 129 w 194"/>
                <a:gd name="T7" fmla="*/ 10 h 400"/>
                <a:gd name="T8" fmla="*/ 119 w 194"/>
                <a:gd name="T9" fmla="*/ 6 h 400"/>
                <a:gd name="T10" fmla="*/ 119 w 194"/>
                <a:gd name="T11" fmla="*/ 6 h 400"/>
                <a:gd name="T12" fmla="*/ 89 w 194"/>
                <a:gd name="T13" fmla="*/ 0 h 400"/>
                <a:gd name="T14" fmla="*/ 3 w 194"/>
                <a:gd name="T15" fmla="*/ 87 h 400"/>
                <a:gd name="T16" fmla="*/ 89 w 194"/>
                <a:gd name="T17" fmla="*/ 175 h 400"/>
                <a:gd name="T18" fmla="*/ 131 w 194"/>
                <a:gd name="T19" fmla="*/ 164 h 400"/>
                <a:gd name="T20" fmla="*/ 15 w 194"/>
                <a:gd name="T21" fmla="*/ 348 h 400"/>
                <a:gd name="T22" fmla="*/ 10 w 194"/>
                <a:gd name="T23" fmla="*/ 389 h 400"/>
                <a:gd name="T24" fmla="*/ 32 w 194"/>
                <a:gd name="T25" fmla="*/ 400 h 400"/>
                <a:gd name="T26" fmla="*/ 49 w 194"/>
                <a:gd name="T27" fmla="*/ 394 h 400"/>
                <a:gd name="T28" fmla="*/ 187 w 194"/>
                <a:gd name="T29" fmla="*/ 162 h 400"/>
                <a:gd name="T30" fmla="*/ 149 w 194"/>
                <a:gd name="T31" fmla="*/ 26 h 400"/>
                <a:gd name="T32" fmla="*/ 143 w 194"/>
                <a:gd name="T33" fmla="*/ 2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4" h="400">
                  <a:moveTo>
                    <a:pt x="143" y="20"/>
                  </a:moveTo>
                  <a:cubicBezTo>
                    <a:pt x="138" y="16"/>
                    <a:pt x="134" y="13"/>
                    <a:pt x="130" y="11"/>
                  </a:cubicBezTo>
                  <a:cubicBezTo>
                    <a:pt x="130" y="11"/>
                    <a:pt x="130" y="11"/>
                    <a:pt x="129" y="11"/>
                  </a:cubicBezTo>
                  <a:cubicBezTo>
                    <a:pt x="129" y="10"/>
                    <a:pt x="129" y="10"/>
                    <a:pt x="129" y="10"/>
                  </a:cubicBezTo>
                  <a:cubicBezTo>
                    <a:pt x="123" y="7"/>
                    <a:pt x="119" y="6"/>
                    <a:pt x="119" y="6"/>
                  </a:cubicBezTo>
                  <a:lnTo>
                    <a:pt x="119" y="6"/>
                  </a:lnTo>
                  <a:cubicBezTo>
                    <a:pt x="110" y="3"/>
                    <a:pt x="100" y="0"/>
                    <a:pt x="89" y="0"/>
                  </a:cubicBezTo>
                  <a:cubicBezTo>
                    <a:pt x="42" y="0"/>
                    <a:pt x="3" y="39"/>
                    <a:pt x="3" y="87"/>
                  </a:cubicBezTo>
                  <a:cubicBezTo>
                    <a:pt x="3" y="136"/>
                    <a:pt x="42" y="175"/>
                    <a:pt x="89" y="175"/>
                  </a:cubicBezTo>
                  <a:cubicBezTo>
                    <a:pt x="104" y="175"/>
                    <a:pt x="118" y="171"/>
                    <a:pt x="131" y="164"/>
                  </a:cubicBezTo>
                  <a:cubicBezTo>
                    <a:pt x="126" y="210"/>
                    <a:pt x="102" y="279"/>
                    <a:pt x="15" y="348"/>
                  </a:cubicBezTo>
                  <a:cubicBezTo>
                    <a:pt x="2" y="358"/>
                    <a:pt x="0" y="376"/>
                    <a:pt x="10" y="389"/>
                  </a:cubicBezTo>
                  <a:cubicBezTo>
                    <a:pt x="15" y="396"/>
                    <a:pt x="24" y="400"/>
                    <a:pt x="32" y="400"/>
                  </a:cubicBezTo>
                  <a:cubicBezTo>
                    <a:pt x="38" y="400"/>
                    <a:pt x="44" y="398"/>
                    <a:pt x="49" y="394"/>
                  </a:cubicBezTo>
                  <a:cubicBezTo>
                    <a:pt x="157" y="308"/>
                    <a:pt x="184" y="220"/>
                    <a:pt x="187" y="162"/>
                  </a:cubicBezTo>
                  <a:cubicBezTo>
                    <a:pt x="194" y="86"/>
                    <a:pt x="170" y="47"/>
                    <a:pt x="149" y="26"/>
                  </a:cubicBezTo>
                  <a:cubicBezTo>
                    <a:pt x="147" y="24"/>
                    <a:pt x="146" y="22"/>
                    <a:pt x="143" y="20"/>
                  </a:cubicBezTo>
                </a:path>
              </a:pathLst>
            </a:custGeom>
            <a:solidFill>
              <a:srgbClr val="009D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</p:grpSp>
      <p:sp>
        <p:nvSpPr>
          <p:cNvPr id="18" name="Forme libre 17"/>
          <p:cNvSpPr/>
          <p:nvPr/>
        </p:nvSpPr>
        <p:spPr>
          <a:xfrm>
            <a:off x="1052636" y="2991295"/>
            <a:ext cx="9728140" cy="2139401"/>
          </a:xfrm>
          <a:custGeom>
            <a:avLst/>
            <a:gdLst>
              <a:gd name="connsiteX0" fmla="*/ 0 w 8380501"/>
              <a:gd name="connsiteY0" fmla="*/ 0 h 1801195"/>
              <a:gd name="connsiteX1" fmla="*/ 8380501 w 8380501"/>
              <a:gd name="connsiteY1" fmla="*/ 0 h 1801195"/>
              <a:gd name="connsiteX2" fmla="*/ 8380501 w 8380501"/>
              <a:gd name="connsiteY2" fmla="*/ 1801195 h 1801195"/>
              <a:gd name="connsiteX3" fmla="*/ 0 w 8380501"/>
              <a:gd name="connsiteY3" fmla="*/ 1801195 h 1801195"/>
              <a:gd name="connsiteX4" fmla="*/ 0 w 8380501"/>
              <a:gd name="connsiteY4" fmla="*/ 0 h 1801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80501" h="1801195">
                <a:moveTo>
                  <a:pt x="0" y="0"/>
                </a:moveTo>
                <a:lnTo>
                  <a:pt x="8380501" y="0"/>
                </a:lnTo>
                <a:lnTo>
                  <a:pt x="8380501" y="1801195"/>
                </a:lnTo>
                <a:lnTo>
                  <a:pt x="0" y="180119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3">
              <a:alpha val="90000"/>
              <a:hueOff val="0"/>
              <a:satOff val="0"/>
              <a:lumOff val="0"/>
              <a:alphaOff val="-40000"/>
            </a:schemeClr>
          </a:effectRef>
          <a:fontRef idx="minor">
            <a:schemeClr val="dk1"/>
          </a:fontRef>
        </p:style>
        <p:txBody>
          <a:bodyPr spcFirstLastPara="0" vert="horz" wrap="square" lIns="839700" tIns="45720" rIns="45720" bIns="45720" numCol="1" spcCol="1270" anchor="ctr" anchorCtr="0">
            <a:noAutofit/>
          </a:bodyPr>
          <a:lstStyle/>
          <a:p>
            <a:pPr defTabSz="3540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2400" b="1" dirty="0" smtClean="0">
                <a:latin typeface="Corbel" panose="020B0503020204020204" pitchFamily="34" charset="0"/>
                <a:cs typeface="Arial" pitchFamily="34" charset="0"/>
              </a:rPr>
              <a:t>	LES </a:t>
            </a:r>
            <a:r>
              <a:rPr lang="fr-FR" sz="2400" b="1" dirty="0">
                <a:latin typeface="Corbel" panose="020B0503020204020204" pitchFamily="34" charset="0"/>
                <a:cs typeface="Arial" pitchFamily="34" charset="0"/>
              </a:rPr>
              <a:t>PARENTHESES : </a:t>
            </a:r>
            <a:r>
              <a:rPr lang="fr-FR" sz="2400" dirty="0">
                <a:latin typeface="Corbel" panose="020B0503020204020204" pitchFamily="34" charset="0"/>
              </a:rPr>
              <a:t>pour structurer sa requête</a:t>
            </a:r>
          </a:p>
          <a:p>
            <a:pPr defTabSz="800100">
              <a:lnSpc>
                <a:spcPct val="90000"/>
              </a:lnSpc>
              <a:spcAft>
                <a:spcPct val="35000"/>
              </a:spcAft>
            </a:pPr>
            <a:r>
              <a:rPr lang="fr-FR" sz="2400" dirty="0" smtClean="0">
                <a:latin typeface="Corbel" panose="020B0503020204020204" pitchFamily="34" charset="0"/>
              </a:rPr>
              <a:t>("</a:t>
            </a:r>
            <a:r>
              <a:rPr lang="fr-FR" sz="2400" dirty="0">
                <a:latin typeface="Corbel" panose="020B0503020204020204" pitchFamily="34" charset="0"/>
              </a:rPr>
              <a:t>cigarette électronique" OU e-cigarette OU vapotage OU vapoter) ET (tabagisme OU "dépendance au tabac" OU tabaco-dépendance OU tabacodépendance OU "dépendance à la nicotine") </a:t>
            </a: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4456" y="3232822"/>
            <a:ext cx="571128" cy="571128"/>
          </a:xfrm>
          <a:prstGeom prst="rect">
            <a:avLst/>
          </a:prstGeom>
        </p:spPr>
      </p:pic>
      <p:sp>
        <p:nvSpPr>
          <p:cNvPr id="20" name="Text Box 12"/>
          <p:cNvSpPr txBox="1">
            <a:spLocks noChangeArrowheads="1"/>
          </p:cNvSpPr>
          <p:nvPr/>
        </p:nvSpPr>
        <p:spPr bwMode="auto">
          <a:xfrm>
            <a:off x="2518097" y="5215868"/>
            <a:ext cx="8149903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sym typeface="Wingdings 2" pitchFamily="18" charset="2"/>
              </a:rPr>
              <a:t>La syntaxe varie d’un outil de recherche à l’autre, de même que le nombre de mots ou de caractères que l’on peut inclure dans une requête.</a:t>
            </a: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5" cstate="print"/>
          <a:srcRect r="4641" b="20923"/>
          <a:stretch>
            <a:fillRect/>
          </a:stretch>
        </p:blipFill>
        <p:spPr bwMode="auto">
          <a:xfrm>
            <a:off x="1204555" y="5349501"/>
            <a:ext cx="1162058" cy="835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Espace réservé du pied de page 2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2-05-03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94231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8" name="Text Box 20"/>
          <p:cNvSpPr txBox="1">
            <a:spLocks noChangeArrowheads="1"/>
          </p:cNvSpPr>
          <p:nvPr/>
        </p:nvSpPr>
        <p:spPr bwMode="auto">
          <a:xfrm>
            <a:off x="386695" y="636631"/>
            <a:ext cx="9144000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 </a:t>
            </a:r>
            <a:r>
              <a:rPr lang="fr-FR" sz="4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ngue : français et anglais</a:t>
            </a:r>
          </a:p>
        </p:txBody>
      </p:sp>
      <p:sp>
        <p:nvSpPr>
          <p:cNvPr id="6" name="Espace réservé du contenu 3"/>
          <p:cNvSpPr>
            <a:spLocks noGrp="1"/>
          </p:cNvSpPr>
          <p:nvPr>
            <p:ph idx="1"/>
          </p:nvPr>
        </p:nvSpPr>
        <p:spPr>
          <a:xfrm>
            <a:off x="1133567" y="1745253"/>
            <a:ext cx="9284433" cy="4658204"/>
          </a:xfrm>
        </p:spPr>
        <p:txBody>
          <a:bodyPr>
            <a:normAutofit/>
          </a:bodyPr>
          <a:lstStyle/>
          <a:p>
            <a:r>
              <a:rPr lang="fr-FR" sz="3200" dirty="0" smtClean="0"/>
              <a:t> Cet espéranto documentaire se décline en français ou en anglais en fonction de l’outil documentaire que vous interrogez.</a:t>
            </a:r>
          </a:p>
          <a:p>
            <a:r>
              <a:rPr lang="fr-FR" sz="3200" b="1" dirty="0" smtClean="0"/>
              <a:t> </a:t>
            </a:r>
            <a:r>
              <a:rPr lang="fr-FR" sz="3200" dirty="0" smtClean="0"/>
              <a:t>La </a:t>
            </a:r>
            <a:r>
              <a:rPr lang="fr-FR" sz="3200" dirty="0" smtClean="0">
                <a:solidFill>
                  <a:srgbClr val="009DE0"/>
                </a:solidFill>
              </a:rPr>
              <a:t>langue d’interrogation </a:t>
            </a:r>
            <a:r>
              <a:rPr lang="fr-FR" sz="3200" dirty="0" smtClean="0"/>
              <a:t>n’est pas forcément la </a:t>
            </a:r>
            <a:r>
              <a:rPr lang="fr-FR" sz="3200" dirty="0" smtClean="0">
                <a:solidFill>
                  <a:srgbClr val="009DE0"/>
                </a:solidFill>
              </a:rPr>
              <a:t>langue des documents indexés </a:t>
            </a:r>
            <a:r>
              <a:rPr lang="fr-FR" sz="3200" dirty="0" smtClean="0"/>
              <a:t>: </a:t>
            </a:r>
            <a:r>
              <a:rPr lang="fr-FR" sz="3200" dirty="0" err="1" smtClean="0"/>
              <a:t>PubMed</a:t>
            </a:r>
            <a:r>
              <a:rPr lang="fr-FR" sz="3200" dirty="0" smtClean="0"/>
              <a:t> doit être interrogée en anglais, même si elle indexe des articles dans de multiples langues (y compris le français).</a:t>
            </a:r>
            <a:endParaRPr lang="fr-FR" sz="3200" b="1" dirty="0" smtClean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2-05-03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62268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Typologie des outils de recherche documentaire </a:t>
            </a:r>
            <a:r>
              <a:rPr lang="fr-FR" dirty="0" smtClean="0"/>
              <a:t>et </a:t>
            </a:r>
            <a:r>
              <a:rPr lang="fr-FR" dirty="0"/>
              <a:t>critères de choix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Bases de données, sites d’éditeurs, etc.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13</a:t>
            </a:fld>
            <a:endParaRPr lang="fr-FR" dirty="0"/>
          </a:p>
        </p:txBody>
      </p:sp>
      <p:grpSp>
        <p:nvGrpSpPr>
          <p:cNvPr id="50" name="Keywords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9539875" y="450744"/>
            <a:ext cx="2404788" cy="2251289"/>
            <a:chOff x="2660651" y="3714751"/>
            <a:chExt cx="820738" cy="768350"/>
          </a:xfrm>
          <a:solidFill>
            <a:schemeClr val="accent2"/>
          </a:solidFill>
        </p:grpSpPr>
        <p:sp>
          <p:nvSpPr>
            <p:cNvPr id="51" name="Rectangle 348"/>
            <p:cNvSpPr>
              <a:spLocks noChangeArrowheads="1"/>
            </p:cNvSpPr>
            <p:nvPr/>
          </p:nvSpPr>
          <p:spPr bwMode="auto">
            <a:xfrm>
              <a:off x="2789238" y="416560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2" name="Rectangle 349"/>
            <p:cNvSpPr>
              <a:spLocks noChangeArrowheads="1"/>
            </p:cNvSpPr>
            <p:nvPr/>
          </p:nvSpPr>
          <p:spPr bwMode="auto">
            <a:xfrm>
              <a:off x="2660651" y="416560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3" name="Rectangle 350"/>
            <p:cNvSpPr>
              <a:spLocks noChangeArrowheads="1"/>
            </p:cNvSpPr>
            <p:nvPr/>
          </p:nvSpPr>
          <p:spPr bwMode="auto">
            <a:xfrm>
              <a:off x="3008313" y="4165601"/>
              <a:ext cx="1031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4" name="Rectangle 351"/>
            <p:cNvSpPr>
              <a:spLocks noChangeArrowheads="1"/>
            </p:cNvSpPr>
            <p:nvPr/>
          </p:nvSpPr>
          <p:spPr bwMode="auto">
            <a:xfrm>
              <a:off x="2825751" y="3940176"/>
              <a:ext cx="10636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5" name="Rectangle 352"/>
            <p:cNvSpPr>
              <a:spLocks noChangeArrowheads="1"/>
            </p:cNvSpPr>
            <p:nvPr/>
          </p:nvSpPr>
          <p:spPr bwMode="auto">
            <a:xfrm>
              <a:off x="2660651" y="3940176"/>
              <a:ext cx="1127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6" name="Rectangle 353"/>
            <p:cNvSpPr>
              <a:spLocks noChangeArrowheads="1"/>
            </p:cNvSpPr>
            <p:nvPr/>
          </p:nvSpPr>
          <p:spPr bwMode="auto">
            <a:xfrm>
              <a:off x="2984501" y="3940176"/>
              <a:ext cx="1555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7" name="Rectangle 354"/>
            <p:cNvSpPr>
              <a:spLocks noChangeArrowheads="1"/>
            </p:cNvSpPr>
            <p:nvPr/>
          </p:nvSpPr>
          <p:spPr bwMode="auto">
            <a:xfrm>
              <a:off x="3192463" y="3940176"/>
              <a:ext cx="1047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8" name="Rectangle 355"/>
            <p:cNvSpPr>
              <a:spLocks noChangeArrowheads="1"/>
            </p:cNvSpPr>
            <p:nvPr/>
          </p:nvSpPr>
          <p:spPr bwMode="auto">
            <a:xfrm>
              <a:off x="3348038" y="3940176"/>
              <a:ext cx="7778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9" name="Rectangle 356"/>
            <p:cNvSpPr>
              <a:spLocks noChangeArrowheads="1"/>
            </p:cNvSpPr>
            <p:nvPr/>
          </p:nvSpPr>
          <p:spPr bwMode="auto">
            <a:xfrm>
              <a:off x="2852738" y="4052888"/>
              <a:ext cx="16033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0" name="Rectangle 357"/>
            <p:cNvSpPr>
              <a:spLocks noChangeArrowheads="1"/>
            </p:cNvSpPr>
            <p:nvPr/>
          </p:nvSpPr>
          <p:spPr bwMode="auto">
            <a:xfrm>
              <a:off x="2660651" y="4052888"/>
              <a:ext cx="1381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1" name="Rectangle 358"/>
            <p:cNvSpPr>
              <a:spLocks noChangeArrowheads="1"/>
            </p:cNvSpPr>
            <p:nvPr/>
          </p:nvSpPr>
          <p:spPr bwMode="auto">
            <a:xfrm>
              <a:off x="3063876" y="4052888"/>
              <a:ext cx="7302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2" name="Rectangle 359"/>
            <p:cNvSpPr>
              <a:spLocks noChangeArrowheads="1"/>
            </p:cNvSpPr>
            <p:nvPr/>
          </p:nvSpPr>
          <p:spPr bwMode="auto">
            <a:xfrm>
              <a:off x="3189288" y="4052888"/>
              <a:ext cx="1301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3" name="Rectangle 360"/>
            <p:cNvSpPr>
              <a:spLocks noChangeArrowheads="1"/>
            </p:cNvSpPr>
            <p:nvPr/>
          </p:nvSpPr>
          <p:spPr bwMode="auto">
            <a:xfrm>
              <a:off x="3371851" y="4052888"/>
              <a:ext cx="539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4" name="Rectangle 361"/>
            <p:cNvSpPr>
              <a:spLocks noChangeArrowheads="1"/>
            </p:cNvSpPr>
            <p:nvPr/>
          </p:nvSpPr>
          <p:spPr bwMode="auto">
            <a:xfrm>
              <a:off x="2876551" y="371475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5" name="Rectangle 362"/>
            <p:cNvSpPr>
              <a:spLocks noChangeArrowheads="1"/>
            </p:cNvSpPr>
            <p:nvPr/>
          </p:nvSpPr>
          <p:spPr bwMode="auto">
            <a:xfrm>
              <a:off x="2660651" y="371475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6" name="Rectangle 363"/>
            <p:cNvSpPr>
              <a:spLocks noChangeArrowheads="1"/>
            </p:cNvSpPr>
            <p:nvPr/>
          </p:nvSpPr>
          <p:spPr bwMode="auto">
            <a:xfrm>
              <a:off x="3008313" y="3714751"/>
              <a:ext cx="1571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7" name="Rectangle 364"/>
            <p:cNvSpPr>
              <a:spLocks noChangeArrowheads="1"/>
            </p:cNvSpPr>
            <p:nvPr/>
          </p:nvSpPr>
          <p:spPr bwMode="auto">
            <a:xfrm>
              <a:off x="3217863" y="3714751"/>
              <a:ext cx="2079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8" name="Freeform 365"/>
            <p:cNvSpPr>
              <a:spLocks noEditPoints="1"/>
            </p:cNvSpPr>
            <p:nvPr/>
          </p:nvSpPr>
          <p:spPr bwMode="auto">
            <a:xfrm>
              <a:off x="2660651" y="4165601"/>
              <a:ext cx="820738" cy="317500"/>
            </a:xfrm>
            <a:custGeom>
              <a:avLst/>
              <a:gdLst>
                <a:gd name="T0" fmla="*/ 456 w 527"/>
                <a:gd name="T1" fmla="*/ 128 h 204"/>
                <a:gd name="T2" fmla="*/ 432 w 527"/>
                <a:gd name="T3" fmla="*/ 104 h 204"/>
                <a:gd name="T4" fmla="*/ 456 w 527"/>
                <a:gd name="T5" fmla="*/ 80 h 204"/>
                <a:gd name="T6" fmla="*/ 480 w 527"/>
                <a:gd name="T7" fmla="*/ 104 h 204"/>
                <a:gd name="T8" fmla="*/ 456 w 527"/>
                <a:gd name="T9" fmla="*/ 128 h 204"/>
                <a:gd name="T10" fmla="*/ 432 w 527"/>
                <a:gd name="T11" fmla="*/ 3 h 204"/>
                <a:gd name="T12" fmla="*/ 328 w 527"/>
                <a:gd name="T13" fmla="*/ 75 h 204"/>
                <a:gd name="T14" fmla="*/ 324 w 527"/>
                <a:gd name="T15" fmla="*/ 79 h 204"/>
                <a:gd name="T16" fmla="*/ 5 w 527"/>
                <a:gd name="T17" fmla="*/ 79 h 204"/>
                <a:gd name="T18" fmla="*/ 0 w 527"/>
                <a:gd name="T19" fmla="*/ 83 h 204"/>
                <a:gd name="T20" fmla="*/ 0 w 527"/>
                <a:gd name="T21" fmla="*/ 168 h 204"/>
                <a:gd name="T22" fmla="*/ 5 w 527"/>
                <a:gd name="T23" fmla="*/ 173 h 204"/>
                <a:gd name="T24" fmla="*/ 45 w 527"/>
                <a:gd name="T25" fmla="*/ 173 h 204"/>
                <a:gd name="T26" fmla="*/ 50 w 527"/>
                <a:gd name="T27" fmla="*/ 168 h 204"/>
                <a:gd name="T28" fmla="*/ 50 w 527"/>
                <a:gd name="T29" fmla="*/ 133 h 204"/>
                <a:gd name="T30" fmla="*/ 55 w 527"/>
                <a:gd name="T31" fmla="*/ 129 h 204"/>
                <a:gd name="T32" fmla="*/ 84 w 527"/>
                <a:gd name="T33" fmla="*/ 129 h 204"/>
                <a:gd name="T34" fmla="*/ 89 w 527"/>
                <a:gd name="T35" fmla="*/ 133 h 204"/>
                <a:gd name="T36" fmla="*/ 89 w 527"/>
                <a:gd name="T37" fmla="*/ 170 h 204"/>
                <a:gd name="T38" fmla="*/ 94 w 527"/>
                <a:gd name="T39" fmla="*/ 175 h 204"/>
                <a:gd name="T40" fmla="*/ 134 w 527"/>
                <a:gd name="T41" fmla="*/ 175 h 204"/>
                <a:gd name="T42" fmla="*/ 139 w 527"/>
                <a:gd name="T43" fmla="*/ 170 h 204"/>
                <a:gd name="T44" fmla="*/ 139 w 527"/>
                <a:gd name="T45" fmla="*/ 133 h 204"/>
                <a:gd name="T46" fmla="*/ 144 w 527"/>
                <a:gd name="T47" fmla="*/ 129 h 204"/>
                <a:gd name="T48" fmla="*/ 324 w 527"/>
                <a:gd name="T49" fmla="*/ 129 h 204"/>
                <a:gd name="T50" fmla="*/ 328 w 527"/>
                <a:gd name="T51" fmla="*/ 132 h 204"/>
                <a:gd name="T52" fmla="*/ 425 w 527"/>
                <a:gd name="T53" fmla="*/ 204 h 204"/>
                <a:gd name="T54" fmla="*/ 526 w 527"/>
                <a:gd name="T55" fmla="*/ 102 h 204"/>
                <a:gd name="T56" fmla="*/ 432 w 527"/>
                <a:gd name="T57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7" h="204">
                  <a:moveTo>
                    <a:pt x="456" y="128"/>
                  </a:moveTo>
                  <a:cubicBezTo>
                    <a:pt x="443" y="128"/>
                    <a:pt x="432" y="117"/>
                    <a:pt x="432" y="104"/>
                  </a:cubicBezTo>
                  <a:cubicBezTo>
                    <a:pt x="432" y="90"/>
                    <a:pt x="443" y="80"/>
                    <a:pt x="456" y="80"/>
                  </a:cubicBezTo>
                  <a:cubicBezTo>
                    <a:pt x="469" y="80"/>
                    <a:pt x="480" y="90"/>
                    <a:pt x="480" y="104"/>
                  </a:cubicBezTo>
                  <a:cubicBezTo>
                    <a:pt x="480" y="117"/>
                    <a:pt x="469" y="128"/>
                    <a:pt x="456" y="128"/>
                  </a:cubicBezTo>
                  <a:close/>
                  <a:moveTo>
                    <a:pt x="432" y="3"/>
                  </a:moveTo>
                  <a:cubicBezTo>
                    <a:pt x="383" y="0"/>
                    <a:pt x="341" y="31"/>
                    <a:pt x="328" y="75"/>
                  </a:cubicBezTo>
                  <a:cubicBezTo>
                    <a:pt x="328" y="77"/>
                    <a:pt x="326" y="79"/>
                    <a:pt x="324" y="79"/>
                  </a:cubicBezTo>
                  <a:lnTo>
                    <a:pt x="5" y="79"/>
                  </a:lnTo>
                  <a:cubicBezTo>
                    <a:pt x="2" y="79"/>
                    <a:pt x="0" y="81"/>
                    <a:pt x="0" y="83"/>
                  </a:cubicBezTo>
                  <a:lnTo>
                    <a:pt x="0" y="168"/>
                  </a:lnTo>
                  <a:cubicBezTo>
                    <a:pt x="0" y="171"/>
                    <a:pt x="2" y="173"/>
                    <a:pt x="5" y="173"/>
                  </a:cubicBezTo>
                  <a:lnTo>
                    <a:pt x="45" y="173"/>
                  </a:lnTo>
                  <a:cubicBezTo>
                    <a:pt x="48" y="173"/>
                    <a:pt x="50" y="171"/>
                    <a:pt x="50" y="168"/>
                  </a:cubicBezTo>
                  <a:lnTo>
                    <a:pt x="50" y="133"/>
                  </a:lnTo>
                  <a:cubicBezTo>
                    <a:pt x="50" y="131"/>
                    <a:pt x="52" y="129"/>
                    <a:pt x="55" y="129"/>
                  </a:cubicBezTo>
                  <a:lnTo>
                    <a:pt x="84" y="129"/>
                  </a:lnTo>
                  <a:cubicBezTo>
                    <a:pt x="87" y="129"/>
                    <a:pt x="89" y="131"/>
                    <a:pt x="89" y="133"/>
                  </a:cubicBezTo>
                  <a:lnTo>
                    <a:pt x="89" y="170"/>
                  </a:lnTo>
                  <a:cubicBezTo>
                    <a:pt x="89" y="173"/>
                    <a:pt x="91" y="175"/>
                    <a:pt x="94" y="175"/>
                  </a:cubicBezTo>
                  <a:lnTo>
                    <a:pt x="134" y="175"/>
                  </a:lnTo>
                  <a:cubicBezTo>
                    <a:pt x="137" y="175"/>
                    <a:pt x="139" y="173"/>
                    <a:pt x="139" y="170"/>
                  </a:cubicBezTo>
                  <a:lnTo>
                    <a:pt x="139" y="133"/>
                  </a:lnTo>
                  <a:cubicBezTo>
                    <a:pt x="139" y="131"/>
                    <a:pt x="141" y="129"/>
                    <a:pt x="144" y="129"/>
                  </a:cubicBezTo>
                  <a:lnTo>
                    <a:pt x="324" y="129"/>
                  </a:lnTo>
                  <a:cubicBezTo>
                    <a:pt x="326" y="129"/>
                    <a:pt x="328" y="130"/>
                    <a:pt x="328" y="132"/>
                  </a:cubicBezTo>
                  <a:cubicBezTo>
                    <a:pt x="341" y="174"/>
                    <a:pt x="379" y="204"/>
                    <a:pt x="425" y="204"/>
                  </a:cubicBezTo>
                  <a:cubicBezTo>
                    <a:pt x="481" y="204"/>
                    <a:pt x="527" y="159"/>
                    <a:pt x="526" y="102"/>
                  </a:cubicBezTo>
                  <a:cubicBezTo>
                    <a:pt x="525" y="51"/>
                    <a:pt x="484" y="7"/>
                    <a:pt x="4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9" name="Rectangle 366"/>
            <p:cNvSpPr>
              <a:spLocks noChangeArrowheads="1"/>
            </p:cNvSpPr>
            <p:nvPr/>
          </p:nvSpPr>
          <p:spPr bwMode="auto">
            <a:xfrm>
              <a:off x="3128963" y="3827463"/>
              <a:ext cx="79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70" name="Rectangle 367"/>
            <p:cNvSpPr>
              <a:spLocks noChangeArrowheads="1"/>
            </p:cNvSpPr>
            <p:nvPr/>
          </p:nvSpPr>
          <p:spPr bwMode="auto">
            <a:xfrm>
              <a:off x="3260726" y="3827463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71" name="Rectangle 368"/>
            <p:cNvSpPr>
              <a:spLocks noChangeArrowheads="1"/>
            </p:cNvSpPr>
            <p:nvPr/>
          </p:nvSpPr>
          <p:spPr bwMode="auto">
            <a:xfrm>
              <a:off x="2919413" y="3827463"/>
              <a:ext cx="15875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72" name="Rectangle 369"/>
            <p:cNvSpPr>
              <a:spLocks noChangeArrowheads="1"/>
            </p:cNvSpPr>
            <p:nvPr/>
          </p:nvSpPr>
          <p:spPr bwMode="auto">
            <a:xfrm>
              <a:off x="2660651" y="3827463"/>
              <a:ext cx="206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07078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354623" y="197567"/>
            <a:ext cx="10515600" cy="1325563"/>
          </a:xfrm>
        </p:spPr>
        <p:txBody>
          <a:bodyPr/>
          <a:lstStyle/>
          <a:p>
            <a:r>
              <a:rPr lang="fr-FR" dirty="0" smtClean="0"/>
              <a:t>Repères</a:t>
            </a:r>
            <a:endParaRPr lang="fr-FR" dirty="0"/>
          </a:p>
        </p:txBody>
      </p:sp>
      <p:sp>
        <p:nvSpPr>
          <p:cNvPr id="7" name="Espace réservé du contenu 6"/>
          <p:cNvSpPr>
            <a:spLocks noGrp="1"/>
          </p:cNvSpPr>
          <p:nvPr>
            <p:ph idx="1"/>
          </p:nvPr>
        </p:nvSpPr>
        <p:spPr>
          <a:xfrm>
            <a:off x="354623" y="1349073"/>
            <a:ext cx="6569796" cy="4351338"/>
          </a:xfrm>
        </p:spPr>
        <p:txBody>
          <a:bodyPr>
            <a:noAutofit/>
          </a:bodyPr>
          <a:lstStyle/>
          <a:p>
            <a:r>
              <a:rPr lang="fr-FR" dirty="0" smtClean="0"/>
              <a:t>Ressources Inserm - </a:t>
            </a:r>
            <a:r>
              <a:rPr lang="fr-FR" dirty="0" err="1" smtClean="0"/>
              <a:t>Insermbiblio</a:t>
            </a:r>
            <a:r>
              <a:rPr lang="fr-FR" dirty="0" smtClean="0"/>
              <a:t> : accès sous authentification </a:t>
            </a:r>
            <a:r>
              <a:rPr lang="fr-FR" dirty="0" smtClean="0">
                <a:hlinkClick r:id="rId2"/>
              </a:rPr>
              <a:t>https</a:t>
            </a:r>
            <a:r>
              <a:rPr lang="fr-FR" dirty="0">
                <a:hlinkClick r:id="rId2"/>
              </a:rPr>
              <a:t>://insermbiblio.inist.fr</a:t>
            </a:r>
            <a:r>
              <a:rPr lang="fr-FR" dirty="0" smtClean="0">
                <a:hlinkClick r:id="rId2"/>
              </a:rPr>
              <a:t>/</a:t>
            </a:r>
            <a:r>
              <a:rPr lang="fr-FR" dirty="0" smtClean="0"/>
              <a:t> </a:t>
            </a:r>
            <a:endParaRPr lang="fr-FR" dirty="0"/>
          </a:p>
          <a:p>
            <a:r>
              <a:rPr lang="fr-FR" dirty="0" smtClean="0"/>
              <a:t>Ressources </a:t>
            </a:r>
            <a:r>
              <a:rPr lang="fr-FR" dirty="0" err="1" smtClean="0"/>
              <a:t>univ</a:t>
            </a:r>
            <a:r>
              <a:rPr lang="fr-FR" dirty="0" smtClean="0"/>
              <a:t>. Bordeaux </a:t>
            </a:r>
          </a:p>
          <a:p>
            <a:pPr lvl="1"/>
            <a:r>
              <a:rPr lang="fr-FR" sz="2800" dirty="0" smtClean="0">
                <a:hlinkClick r:id="rId3"/>
              </a:rPr>
              <a:t>Liste des collections numériques</a:t>
            </a:r>
            <a:r>
              <a:rPr lang="fr-FR" sz="2800" dirty="0" smtClean="0"/>
              <a:t> (bases de données, sites de revues, etc.)</a:t>
            </a:r>
          </a:p>
          <a:p>
            <a:pPr lvl="1"/>
            <a:r>
              <a:rPr lang="fr-FR" sz="2800" dirty="0" err="1">
                <a:hlinkClick r:id="rId4"/>
              </a:rPr>
              <a:t>Babord</a:t>
            </a:r>
            <a:r>
              <a:rPr lang="fr-FR" sz="2800" dirty="0" smtClean="0">
                <a:hlinkClick r:id="rId4"/>
              </a:rPr>
              <a:t>+</a:t>
            </a:r>
            <a:r>
              <a:rPr lang="fr-FR" sz="2800" dirty="0" smtClean="0"/>
              <a:t> : rechercher dans toutes les ressources de l’université</a:t>
            </a:r>
          </a:p>
          <a:p>
            <a:pPr marL="457200" lvl="1" indent="0">
              <a:buNone/>
            </a:pPr>
            <a:endParaRPr lang="fr-FR" sz="2800" dirty="0" smtClean="0"/>
          </a:p>
          <a:p>
            <a:pPr lvl="1"/>
            <a:r>
              <a:rPr lang="fr-FR" sz="2800" dirty="0" smtClean="0"/>
              <a:t>Bouton « Accéder BU »</a:t>
            </a:r>
          </a:p>
          <a:p>
            <a:pPr marL="457200" lvl="1" indent="0">
              <a:buNone/>
            </a:pPr>
            <a:r>
              <a:rPr lang="fr-FR" sz="2800" dirty="0" smtClean="0"/>
              <a:t> </a:t>
            </a:r>
          </a:p>
          <a:p>
            <a:pPr marL="457200" lvl="1" indent="0">
              <a:buNone/>
            </a:pPr>
            <a:endParaRPr lang="fr-FR" sz="2800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14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13570" y="241757"/>
            <a:ext cx="2552700" cy="603885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8189" y="5714088"/>
            <a:ext cx="962025" cy="142875"/>
          </a:xfrm>
          <a:prstGeom prst="rect">
            <a:avLst/>
          </a:prstGeom>
        </p:spPr>
      </p:pic>
      <p:sp>
        <p:nvSpPr>
          <p:cNvPr id="17" name="Parenthèse fermante 16"/>
          <p:cNvSpPr/>
          <p:nvPr/>
        </p:nvSpPr>
        <p:spPr>
          <a:xfrm>
            <a:off x="6506308" y="3104174"/>
            <a:ext cx="220905" cy="2276718"/>
          </a:xfrm>
          <a:prstGeom prst="rightBracket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dirty="0">
              <a:latin typeface="Corbel" panose="020B0503020204020204" pitchFamily="34" charset="0"/>
            </a:endParaRPr>
          </a:p>
        </p:txBody>
      </p:sp>
      <p:sp>
        <p:nvSpPr>
          <p:cNvPr id="19" name="ZoneTexte 18"/>
          <p:cNvSpPr txBox="1"/>
          <p:nvPr/>
        </p:nvSpPr>
        <p:spPr>
          <a:xfrm>
            <a:off x="6924419" y="3200202"/>
            <a:ext cx="22585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latin typeface="Corbel" panose="020B0503020204020204" pitchFamily="34" charset="0"/>
              </a:rPr>
              <a:t>Interrogation </a:t>
            </a:r>
            <a:r>
              <a:rPr lang="fr-FR" dirty="0">
                <a:latin typeface="Corbel" panose="020B0503020204020204" pitchFamily="34" charset="0"/>
              </a:rPr>
              <a:t>possible</a:t>
            </a:r>
          </a:p>
          <a:p>
            <a:r>
              <a:rPr lang="fr-FR" dirty="0" smtClean="0">
                <a:latin typeface="Corbel" panose="020B0503020204020204" pitchFamily="34" charset="0"/>
              </a:rPr>
              <a:t>sans authentification</a:t>
            </a:r>
          </a:p>
          <a:p>
            <a:endParaRPr lang="fr-FR" dirty="0" smtClean="0">
              <a:latin typeface="Corbel" panose="020B0503020204020204" pitchFamily="34" charset="0"/>
            </a:endParaRPr>
          </a:p>
          <a:p>
            <a:r>
              <a:rPr lang="fr-FR" dirty="0" smtClean="0">
                <a:latin typeface="Corbel" panose="020B0503020204020204" pitchFamily="34" charset="0"/>
              </a:rPr>
              <a:t>Retrouvez ces 2 liens dans l’ENT </a:t>
            </a:r>
            <a:r>
              <a:rPr lang="fr-FR" dirty="0">
                <a:latin typeface="Corbel" panose="020B0503020204020204" pitchFamily="34" charset="0"/>
              </a:rPr>
              <a:t>&gt; onglet </a:t>
            </a:r>
            <a:r>
              <a:rPr lang="fr-FR" dirty="0" smtClean="0">
                <a:latin typeface="Corbel" panose="020B0503020204020204" pitchFamily="34" charset="0"/>
              </a:rPr>
              <a:t>Bibliothèques</a:t>
            </a:r>
          </a:p>
          <a:p>
            <a:endParaRPr lang="fr-FR" dirty="0">
              <a:latin typeface="Corbel" panose="020B0503020204020204" pitchFamily="34" charset="0"/>
            </a:endParaRPr>
          </a:p>
          <a:p>
            <a:endParaRPr lang="fr-FR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06702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48431" y="1480526"/>
            <a:ext cx="6506543" cy="5506441"/>
          </a:xfrm>
        </p:spPr>
        <p:txBody>
          <a:bodyPr/>
          <a:lstStyle/>
          <a:p>
            <a:r>
              <a:rPr lang="fr-FR" dirty="0" smtClean="0">
                <a:solidFill>
                  <a:srgbClr val="009DE0"/>
                </a:solidFill>
              </a:rPr>
              <a:t>Livres </a:t>
            </a:r>
            <a:r>
              <a:rPr lang="fr-FR" dirty="0">
                <a:solidFill>
                  <a:srgbClr val="009DE0"/>
                </a:solidFill>
              </a:rPr>
              <a:t>et revues : les sites d’éditeurs</a:t>
            </a:r>
          </a:p>
          <a:p>
            <a:pPr lvl="1"/>
            <a:r>
              <a:rPr lang="fr-FR" dirty="0" smtClean="0"/>
              <a:t>On interroge et on accède directement au texte intégral des documents</a:t>
            </a:r>
          </a:p>
          <a:p>
            <a:pPr lvl="1"/>
            <a:r>
              <a:rPr lang="fr-FR" dirty="0" smtClean="0"/>
              <a:t>Limitations en termes de </a:t>
            </a:r>
            <a:r>
              <a:rPr lang="fr-FR" dirty="0" smtClean="0">
                <a:solidFill>
                  <a:srgbClr val="009DE0"/>
                </a:solidFill>
              </a:rPr>
              <a:t>fonctionnalités</a:t>
            </a:r>
            <a:r>
              <a:rPr lang="fr-FR" dirty="0" smtClean="0"/>
              <a:t> et de </a:t>
            </a:r>
            <a:r>
              <a:rPr lang="fr-FR" dirty="0" smtClean="0">
                <a:solidFill>
                  <a:srgbClr val="009DE0"/>
                </a:solidFill>
              </a:rPr>
              <a:t>couverture</a:t>
            </a:r>
          </a:p>
          <a:p>
            <a:pPr>
              <a:spcBef>
                <a:spcPts val="600"/>
              </a:spcBef>
            </a:pPr>
            <a:r>
              <a:rPr lang="fr-FR" dirty="0">
                <a:solidFill>
                  <a:srgbClr val="009DE0"/>
                </a:solidFill>
              </a:rPr>
              <a:t>Les bases de données bibliographiques</a:t>
            </a:r>
          </a:p>
          <a:p>
            <a:pPr lvl="1"/>
            <a:r>
              <a:rPr lang="fr-FR" dirty="0" smtClean="0"/>
              <a:t>On interroge seulement les informations bibliographiques (titre, résumé, etc.) et l’accès au texte intégral est indirect</a:t>
            </a:r>
          </a:p>
          <a:p>
            <a:pPr lvl="1"/>
            <a:r>
              <a:rPr lang="fr-FR" dirty="0" smtClean="0"/>
              <a:t>Incontournables pour la recherche d’articles </a:t>
            </a:r>
          </a:p>
        </p:txBody>
      </p:sp>
      <p:grpSp>
        <p:nvGrpSpPr>
          <p:cNvPr id="2" name="Groupe 1"/>
          <p:cNvGrpSpPr/>
          <p:nvPr/>
        </p:nvGrpSpPr>
        <p:grpSpPr>
          <a:xfrm>
            <a:off x="7172121" y="2059988"/>
            <a:ext cx="3071468" cy="972660"/>
            <a:chOff x="1363355" y="1484784"/>
            <a:chExt cx="3071468" cy="972660"/>
          </a:xfrm>
        </p:grpSpPr>
        <p:grpSp>
          <p:nvGrpSpPr>
            <p:cNvPr id="5" name="File_PDF2" descr="{&quot;Key&quot;:&quot;POWER_USER_SHAPE_ICON&quot;,&quot;Value&quot;:&quot;POWER_USER_SHAPE_ICON_STYLE_1&quot;}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1363355" y="1484784"/>
              <a:ext cx="826308" cy="934945"/>
              <a:chOff x="3337" y="1591"/>
              <a:chExt cx="1004" cy="1136"/>
            </a:xfrm>
            <a:solidFill>
              <a:srgbClr val="009DE0"/>
            </a:solidFill>
          </p:grpSpPr>
          <p:sp>
            <p:nvSpPr>
              <p:cNvPr id="7" name="Freeform 273"/>
              <p:cNvSpPr>
                <a:spLocks/>
              </p:cNvSpPr>
              <p:nvPr/>
            </p:nvSpPr>
            <p:spPr bwMode="auto">
              <a:xfrm>
                <a:off x="3512" y="2124"/>
                <a:ext cx="90" cy="103"/>
              </a:xfrm>
              <a:custGeom>
                <a:avLst/>
                <a:gdLst>
                  <a:gd name="T0" fmla="*/ 545 w 545"/>
                  <a:gd name="T1" fmla="*/ 296 h 625"/>
                  <a:gd name="T2" fmla="*/ 189 w 545"/>
                  <a:gd name="T3" fmla="*/ 0 h 625"/>
                  <a:gd name="T4" fmla="*/ 0 w 545"/>
                  <a:gd name="T5" fmla="*/ 18 h 625"/>
                  <a:gd name="T6" fmla="*/ 0 w 545"/>
                  <a:gd name="T7" fmla="*/ 613 h 625"/>
                  <a:gd name="T8" fmla="*/ 153 w 545"/>
                  <a:gd name="T9" fmla="*/ 625 h 625"/>
                  <a:gd name="T10" fmla="*/ 545 w 545"/>
                  <a:gd name="T11" fmla="*/ 296 h 6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5" h="625">
                    <a:moveTo>
                      <a:pt x="545" y="296"/>
                    </a:moveTo>
                    <a:cubicBezTo>
                      <a:pt x="545" y="110"/>
                      <a:pt x="416" y="0"/>
                      <a:pt x="189" y="0"/>
                    </a:cubicBezTo>
                    <a:cubicBezTo>
                      <a:pt x="96" y="0"/>
                      <a:pt x="33" y="9"/>
                      <a:pt x="0" y="18"/>
                    </a:cubicBezTo>
                    <a:lnTo>
                      <a:pt x="0" y="613"/>
                    </a:lnTo>
                    <a:cubicBezTo>
                      <a:pt x="39" y="622"/>
                      <a:pt x="87" y="625"/>
                      <a:pt x="153" y="625"/>
                    </a:cubicBezTo>
                    <a:cubicBezTo>
                      <a:pt x="395" y="625"/>
                      <a:pt x="545" y="502"/>
                      <a:pt x="545" y="296"/>
                    </a:cubicBezTo>
                    <a:close/>
                  </a:path>
                </a:pathLst>
              </a:custGeom>
              <a:grpFill/>
              <a:ln w="0">
                <a:solidFill>
                  <a:srgbClr val="009DE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8" name="Freeform 274"/>
              <p:cNvSpPr>
                <a:spLocks/>
              </p:cNvSpPr>
              <p:nvPr/>
            </p:nvSpPr>
            <p:spPr bwMode="auto">
              <a:xfrm>
                <a:off x="3800" y="2125"/>
                <a:ext cx="139" cy="223"/>
              </a:xfrm>
              <a:custGeom>
                <a:avLst/>
                <a:gdLst>
                  <a:gd name="T0" fmla="*/ 207 w 844"/>
                  <a:gd name="T1" fmla="*/ 0 h 1349"/>
                  <a:gd name="T2" fmla="*/ 0 w 844"/>
                  <a:gd name="T3" fmla="*/ 18 h 1349"/>
                  <a:gd name="T4" fmla="*/ 0 w 844"/>
                  <a:gd name="T5" fmla="*/ 1337 h 1349"/>
                  <a:gd name="T6" fmla="*/ 159 w 844"/>
                  <a:gd name="T7" fmla="*/ 1346 h 1349"/>
                  <a:gd name="T8" fmla="*/ 841 w 844"/>
                  <a:gd name="T9" fmla="*/ 640 h 1349"/>
                  <a:gd name="T10" fmla="*/ 207 w 844"/>
                  <a:gd name="T11" fmla="*/ 0 h 1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4" h="1349">
                    <a:moveTo>
                      <a:pt x="207" y="0"/>
                    </a:moveTo>
                    <a:cubicBezTo>
                      <a:pt x="105" y="0"/>
                      <a:pt x="39" y="9"/>
                      <a:pt x="0" y="18"/>
                    </a:cubicBezTo>
                    <a:lnTo>
                      <a:pt x="0" y="1337"/>
                    </a:lnTo>
                    <a:cubicBezTo>
                      <a:pt x="39" y="1346"/>
                      <a:pt x="102" y="1346"/>
                      <a:pt x="159" y="1346"/>
                    </a:cubicBezTo>
                    <a:cubicBezTo>
                      <a:pt x="572" y="1349"/>
                      <a:pt x="841" y="1121"/>
                      <a:pt x="841" y="640"/>
                    </a:cubicBezTo>
                    <a:cubicBezTo>
                      <a:pt x="844" y="221"/>
                      <a:pt x="599" y="0"/>
                      <a:pt x="207" y="0"/>
                    </a:cubicBezTo>
                    <a:close/>
                  </a:path>
                </a:pathLst>
              </a:custGeom>
              <a:grpFill/>
              <a:ln w="0">
                <a:solidFill>
                  <a:srgbClr val="009DE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9" name="Freeform 275"/>
              <p:cNvSpPr>
                <a:spLocks noEditPoints="1"/>
              </p:cNvSpPr>
              <p:nvPr/>
            </p:nvSpPr>
            <p:spPr bwMode="auto">
              <a:xfrm>
                <a:off x="3337" y="1591"/>
                <a:ext cx="1004" cy="1136"/>
              </a:xfrm>
              <a:custGeom>
                <a:avLst/>
                <a:gdLst>
                  <a:gd name="T0" fmla="*/ 5546 w 6097"/>
                  <a:gd name="T1" fmla="*/ 2463 h 6885"/>
                  <a:gd name="T2" fmla="*/ 5545 w 6097"/>
                  <a:gd name="T3" fmla="*/ 1650 h 6885"/>
                  <a:gd name="T4" fmla="*/ 4185 w 6097"/>
                  <a:gd name="T5" fmla="*/ 46 h 6885"/>
                  <a:gd name="T6" fmla="*/ 4157 w 6097"/>
                  <a:gd name="T7" fmla="*/ 23 h 6885"/>
                  <a:gd name="T8" fmla="*/ 4122 w 6097"/>
                  <a:gd name="T9" fmla="*/ 6 h 6885"/>
                  <a:gd name="T10" fmla="*/ 4083 w 6097"/>
                  <a:gd name="T11" fmla="*/ 0 h 6885"/>
                  <a:gd name="T12" fmla="*/ 551 w 6097"/>
                  <a:gd name="T13" fmla="*/ 270 h 6885"/>
                  <a:gd name="T14" fmla="*/ 386 w 6097"/>
                  <a:gd name="T15" fmla="*/ 2463 h 6885"/>
                  <a:gd name="T16" fmla="*/ 0 w 6097"/>
                  <a:gd name="T17" fmla="*/ 4855 h 6885"/>
                  <a:gd name="T18" fmla="*/ 551 w 6097"/>
                  <a:gd name="T19" fmla="*/ 5241 h 6885"/>
                  <a:gd name="T20" fmla="*/ 821 w 6097"/>
                  <a:gd name="T21" fmla="*/ 6885 h 6885"/>
                  <a:gd name="T22" fmla="*/ 5546 w 6097"/>
                  <a:gd name="T23" fmla="*/ 6615 h 6885"/>
                  <a:gd name="T24" fmla="*/ 5711 w 6097"/>
                  <a:gd name="T25" fmla="*/ 5241 h 6885"/>
                  <a:gd name="T26" fmla="*/ 6097 w 6097"/>
                  <a:gd name="T27" fmla="*/ 2849 h 6885"/>
                  <a:gd name="T28" fmla="*/ 821 w 6097"/>
                  <a:gd name="T29" fmla="*/ 270 h 6885"/>
                  <a:gd name="T30" fmla="*/ 3948 w 6097"/>
                  <a:gd name="T31" fmla="*/ 1651 h 6885"/>
                  <a:gd name="T32" fmla="*/ 5276 w 6097"/>
                  <a:gd name="T33" fmla="*/ 1786 h 6885"/>
                  <a:gd name="T34" fmla="*/ 821 w 6097"/>
                  <a:gd name="T35" fmla="*/ 2463 h 6885"/>
                  <a:gd name="T36" fmla="*/ 4135 w 6097"/>
                  <a:gd name="T37" fmla="*/ 3863 h 6885"/>
                  <a:gd name="T38" fmla="*/ 2870 w 6097"/>
                  <a:gd name="T39" fmla="*/ 4940 h 6885"/>
                  <a:gd name="T40" fmla="*/ 2353 w 6097"/>
                  <a:gd name="T41" fmla="*/ 2930 h 6885"/>
                  <a:gd name="T42" fmla="*/ 3795 w 6097"/>
                  <a:gd name="T43" fmla="*/ 3103 h 6885"/>
                  <a:gd name="T44" fmla="*/ 615 w 6097"/>
                  <a:gd name="T45" fmla="*/ 4919 h 6885"/>
                  <a:gd name="T46" fmla="*/ 1231 w 6097"/>
                  <a:gd name="T47" fmla="*/ 2888 h 6885"/>
                  <a:gd name="T48" fmla="*/ 2062 w 6097"/>
                  <a:gd name="T49" fmla="*/ 3516 h 6885"/>
                  <a:gd name="T50" fmla="*/ 1222 w 6097"/>
                  <a:gd name="T51" fmla="*/ 4207 h 6885"/>
                  <a:gd name="T52" fmla="*/ 1066 w 6097"/>
                  <a:gd name="T53" fmla="*/ 4919 h 6885"/>
                  <a:gd name="T54" fmla="*/ 5276 w 6097"/>
                  <a:gd name="T55" fmla="*/ 6542 h 6885"/>
                  <a:gd name="T56" fmla="*/ 821 w 6097"/>
                  <a:gd name="T57" fmla="*/ 5241 h 6885"/>
                  <a:gd name="T58" fmla="*/ 5276 w 6097"/>
                  <a:gd name="T59" fmla="*/ 6542 h 6885"/>
                  <a:gd name="T60" fmla="*/ 4892 w 6097"/>
                  <a:gd name="T61" fmla="*/ 3277 h 6885"/>
                  <a:gd name="T62" fmla="*/ 5616 w 6097"/>
                  <a:gd name="T63" fmla="*/ 3737 h 6885"/>
                  <a:gd name="T64" fmla="*/ 4892 w 6097"/>
                  <a:gd name="T65" fmla="*/ 4108 h 6885"/>
                  <a:gd name="T66" fmla="*/ 4435 w 6097"/>
                  <a:gd name="T67" fmla="*/ 4919 h 6885"/>
                  <a:gd name="T68" fmla="*/ 5667 w 6097"/>
                  <a:gd name="T69" fmla="*/ 2903 h 68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97" h="6885">
                    <a:moveTo>
                      <a:pt x="5711" y="2463"/>
                    </a:moveTo>
                    <a:lnTo>
                      <a:pt x="5546" y="2463"/>
                    </a:lnTo>
                    <a:lnTo>
                      <a:pt x="5546" y="1665"/>
                    </a:lnTo>
                    <a:cubicBezTo>
                      <a:pt x="5546" y="1660"/>
                      <a:pt x="5545" y="1655"/>
                      <a:pt x="5545" y="1650"/>
                    </a:cubicBezTo>
                    <a:cubicBezTo>
                      <a:pt x="5544" y="1618"/>
                      <a:pt x="5534" y="1587"/>
                      <a:pt x="5513" y="1563"/>
                    </a:cubicBezTo>
                    <a:lnTo>
                      <a:pt x="4185" y="46"/>
                    </a:lnTo>
                    <a:cubicBezTo>
                      <a:pt x="4185" y="46"/>
                      <a:pt x="4184" y="46"/>
                      <a:pt x="4184" y="45"/>
                    </a:cubicBezTo>
                    <a:cubicBezTo>
                      <a:pt x="4176" y="36"/>
                      <a:pt x="4167" y="29"/>
                      <a:pt x="4157" y="23"/>
                    </a:cubicBezTo>
                    <a:cubicBezTo>
                      <a:pt x="4154" y="21"/>
                      <a:pt x="4151" y="19"/>
                      <a:pt x="4148" y="17"/>
                    </a:cubicBezTo>
                    <a:cubicBezTo>
                      <a:pt x="4140" y="13"/>
                      <a:pt x="4131" y="9"/>
                      <a:pt x="4122" y="6"/>
                    </a:cubicBezTo>
                    <a:cubicBezTo>
                      <a:pt x="4119" y="6"/>
                      <a:pt x="4117" y="5"/>
                      <a:pt x="4114" y="4"/>
                    </a:cubicBezTo>
                    <a:cubicBezTo>
                      <a:pt x="4104" y="1"/>
                      <a:pt x="4094" y="0"/>
                      <a:pt x="4083" y="0"/>
                    </a:cubicBezTo>
                    <a:lnTo>
                      <a:pt x="821" y="0"/>
                    </a:lnTo>
                    <a:cubicBezTo>
                      <a:pt x="672" y="0"/>
                      <a:pt x="551" y="121"/>
                      <a:pt x="551" y="270"/>
                    </a:cubicBezTo>
                    <a:lnTo>
                      <a:pt x="551" y="2463"/>
                    </a:lnTo>
                    <a:lnTo>
                      <a:pt x="386" y="2463"/>
                    </a:lnTo>
                    <a:cubicBezTo>
                      <a:pt x="173" y="2463"/>
                      <a:pt x="0" y="2635"/>
                      <a:pt x="0" y="2849"/>
                    </a:cubicBezTo>
                    <a:lnTo>
                      <a:pt x="0" y="4855"/>
                    </a:lnTo>
                    <a:cubicBezTo>
                      <a:pt x="0" y="5068"/>
                      <a:pt x="173" y="5241"/>
                      <a:pt x="386" y="5241"/>
                    </a:cubicBezTo>
                    <a:lnTo>
                      <a:pt x="551" y="5241"/>
                    </a:lnTo>
                    <a:lnTo>
                      <a:pt x="551" y="6615"/>
                    </a:lnTo>
                    <a:cubicBezTo>
                      <a:pt x="551" y="6764"/>
                      <a:pt x="672" y="6885"/>
                      <a:pt x="821" y="6885"/>
                    </a:cubicBezTo>
                    <a:lnTo>
                      <a:pt x="5276" y="6885"/>
                    </a:lnTo>
                    <a:cubicBezTo>
                      <a:pt x="5425" y="6885"/>
                      <a:pt x="5546" y="6764"/>
                      <a:pt x="5546" y="6615"/>
                    </a:cubicBezTo>
                    <a:lnTo>
                      <a:pt x="5546" y="5241"/>
                    </a:lnTo>
                    <a:lnTo>
                      <a:pt x="5711" y="5241"/>
                    </a:lnTo>
                    <a:cubicBezTo>
                      <a:pt x="5924" y="5241"/>
                      <a:pt x="6097" y="5068"/>
                      <a:pt x="6097" y="4855"/>
                    </a:cubicBezTo>
                    <a:lnTo>
                      <a:pt x="6097" y="2849"/>
                    </a:lnTo>
                    <a:cubicBezTo>
                      <a:pt x="6097" y="2635"/>
                      <a:pt x="5924" y="2463"/>
                      <a:pt x="5711" y="2463"/>
                    </a:cubicBezTo>
                    <a:close/>
                    <a:moveTo>
                      <a:pt x="821" y="270"/>
                    </a:moveTo>
                    <a:lnTo>
                      <a:pt x="3948" y="270"/>
                    </a:lnTo>
                    <a:lnTo>
                      <a:pt x="3948" y="1651"/>
                    </a:lnTo>
                    <a:cubicBezTo>
                      <a:pt x="3948" y="1726"/>
                      <a:pt x="4009" y="1786"/>
                      <a:pt x="4083" y="1786"/>
                    </a:cubicBezTo>
                    <a:lnTo>
                      <a:pt x="5276" y="1786"/>
                    </a:lnTo>
                    <a:lnTo>
                      <a:pt x="5276" y="2463"/>
                    </a:lnTo>
                    <a:lnTo>
                      <a:pt x="821" y="2463"/>
                    </a:lnTo>
                    <a:lnTo>
                      <a:pt x="821" y="270"/>
                    </a:lnTo>
                    <a:close/>
                    <a:moveTo>
                      <a:pt x="4135" y="3863"/>
                    </a:moveTo>
                    <a:cubicBezTo>
                      <a:pt x="4135" y="4249"/>
                      <a:pt x="3995" y="4515"/>
                      <a:pt x="3800" y="4679"/>
                    </a:cubicBezTo>
                    <a:cubicBezTo>
                      <a:pt x="3588" y="4856"/>
                      <a:pt x="3265" y="4940"/>
                      <a:pt x="2870" y="4940"/>
                    </a:cubicBezTo>
                    <a:cubicBezTo>
                      <a:pt x="2634" y="4940"/>
                      <a:pt x="2467" y="4925"/>
                      <a:pt x="2353" y="4910"/>
                    </a:cubicBezTo>
                    <a:lnTo>
                      <a:pt x="2353" y="2930"/>
                    </a:lnTo>
                    <a:cubicBezTo>
                      <a:pt x="2520" y="2903"/>
                      <a:pt x="2739" y="2888"/>
                      <a:pt x="2969" y="2888"/>
                    </a:cubicBezTo>
                    <a:cubicBezTo>
                      <a:pt x="3352" y="2888"/>
                      <a:pt x="3600" y="2957"/>
                      <a:pt x="3795" y="3103"/>
                    </a:cubicBezTo>
                    <a:cubicBezTo>
                      <a:pt x="4004" y="3259"/>
                      <a:pt x="4135" y="3507"/>
                      <a:pt x="4135" y="3863"/>
                    </a:cubicBezTo>
                    <a:close/>
                    <a:moveTo>
                      <a:pt x="615" y="4919"/>
                    </a:moveTo>
                    <a:lnTo>
                      <a:pt x="615" y="2930"/>
                    </a:lnTo>
                    <a:cubicBezTo>
                      <a:pt x="755" y="2906"/>
                      <a:pt x="953" y="2888"/>
                      <a:pt x="1231" y="2888"/>
                    </a:cubicBezTo>
                    <a:cubicBezTo>
                      <a:pt x="1512" y="2888"/>
                      <a:pt x="1713" y="2942"/>
                      <a:pt x="1847" y="3049"/>
                    </a:cubicBezTo>
                    <a:cubicBezTo>
                      <a:pt x="1976" y="3151"/>
                      <a:pt x="2062" y="3319"/>
                      <a:pt x="2062" y="3516"/>
                    </a:cubicBezTo>
                    <a:cubicBezTo>
                      <a:pt x="2062" y="3713"/>
                      <a:pt x="1997" y="3881"/>
                      <a:pt x="1877" y="3994"/>
                    </a:cubicBezTo>
                    <a:cubicBezTo>
                      <a:pt x="1721" y="4141"/>
                      <a:pt x="1491" y="4207"/>
                      <a:pt x="1222" y="4207"/>
                    </a:cubicBezTo>
                    <a:cubicBezTo>
                      <a:pt x="1162" y="4207"/>
                      <a:pt x="1108" y="4204"/>
                      <a:pt x="1066" y="4198"/>
                    </a:cubicBezTo>
                    <a:lnTo>
                      <a:pt x="1066" y="4919"/>
                    </a:lnTo>
                    <a:lnTo>
                      <a:pt x="615" y="4919"/>
                    </a:lnTo>
                    <a:close/>
                    <a:moveTo>
                      <a:pt x="5276" y="6542"/>
                    </a:moveTo>
                    <a:lnTo>
                      <a:pt x="821" y="6542"/>
                    </a:lnTo>
                    <a:lnTo>
                      <a:pt x="821" y="5241"/>
                    </a:lnTo>
                    <a:lnTo>
                      <a:pt x="5276" y="5241"/>
                    </a:lnTo>
                    <a:lnTo>
                      <a:pt x="5276" y="6542"/>
                    </a:lnTo>
                    <a:close/>
                    <a:moveTo>
                      <a:pt x="5667" y="3277"/>
                    </a:moveTo>
                    <a:lnTo>
                      <a:pt x="4892" y="3277"/>
                    </a:lnTo>
                    <a:lnTo>
                      <a:pt x="4892" y="3737"/>
                    </a:lnTo>
                    <a:lnTo>
                      <a:pt x="5616" y="3737"/>
                    </a:lnTo>
                    <a:lnTo>
                      <a:pt x="5616" y="4108"/>
                    </a:lnTo>
                    <a:lnTo>
                      <a:pt x="4892" y="4108"/>
                    </a:lnTo>
                    <a:lnTo>
                      <a:pt x="4892" y="4919"/>
                    </a:lnTo>
                    <a:lnTo>
                      <a:pt x="4435" y="4919"/>
                    </a:lnTo>
                    <a:lnTo>
                      <a:pt x="4435" y="2903"/>
                    </a:lnTo>
                    <a:lnTo>
                      <a:pt x="5667" y="2903"/>
                    </a:lnTo>
                    <a:lnTo>
                      <a:pt x="5667" y="3277"/>
                    </a:lnTo>
                    <a:close/>
                  </a:path>
                </a:pathLst>
              </a:custGeom>
              <a:grpFill/>
              <a:ln w="0">
                <a:solidFill>
                  <a:srgbClr val="009DE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orbel" panose="020B0503020204020204" pitchFamily="34" charset="0"/>
                </a:endParaRPr>
              </a:p>
            </p:txBody>
          </p:sp>
        </p:grpSp>
        <p:sp>
          <p:nvSpPr>
            <p:cNvPr id="10" name="Newspaper3" descr="{&quot;Key&quot;:&quot;POWER_USER_SHAPE_ICON&quot;,&quot;Value&quot;:&quot;POWER_USER_SHAPE_ICON_STYLE_1&quot;}"/>
            <p:cNvSpPr>
              <a:spLocks noChangeAspect="1"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3476743" y="1628800"/>
              <a:ext cx="958080" cy="792346"/>
            </a:xfrm>
            <a:custGeom>
              <a:avLst/>
              <a:gdLst>
                <a:gd name="T0" fmla="*/ 1085 w 1125"/>
                <a:gd name="T1" fmla="*/ 112 h 928"/>
                <a:gd name="T2" fmla="*/ 957 w 1125"/>
                <a:gd name="T3" fmla="*/ 112 h 928"/>
                <a:gd name="T4" fmla="*/ 957 w 1125"/>
                <a:gd name="T5" fmla="*/ 40 h 928"/>
                <a:gd name="T6" fmla="*/ 916 w 1125"/>
                <a:gd name="T7" fmla="*/ 0 h 928"/>
                <a:gd name="T8" fmla="*/ 38 w 1125"/>
                <a:gd name="T9" fmla="*/ 0 h 928"/>
                <a:gd name="T10" fmla="*/ 0 w 1125"/>
                <a:gd name="T11" fmla="*/ 40 h 928"/>
                <a:gd name="T12" fmla="*/ 0 w 1125"/>
                <a:gd name="T13" fmla="*/ 804 h 928"/>
                <a:gd name="T14" fmla="*/ 123 w 1125"/>
                <a:gd name="T15" fmla="*/ 928 h 928"/>
                <a:gd name="T16" fmla="*/ 1001 w 1125"/>
                <a:gd name="T17" fmla="*/ 928 h 928"/>
                <a:gd name="T18" fmla="*/ 1125 w 1125"/>
                <a:gd name="T19" fmla="*/ 804 h 928"/>
                <a:gd name="T20" fmla="*/ 1125 w 1125"/>
                <a:gd name="T21" fmla="*/ 150 h 928"/>
                <a:gd name="T22" fmla="*/ 1085 w 1125"/>
                <a:gd name="T23" fmla="*/ 112 h 928"/>
                <a:gd name="T24" fmla="*/ 123 w 1125"/>
                <a:gd name="T25" fmla="*/ 846 h 928"/>
                <a:gd name="T26" fmla="*/ 81 w 1125"/>
                <a:gd name="T27" fmla="*/ 804 h 928"/>
                <a:gd name="T28" fmla="*/ 81 w 1125"/>
                <a:gd name="T29" fmla="*/ 81 h 928"/>
                <a:gd name="T30" fmla="*/ 877 w 1125"/>
                <a:gd name="T31" fmla="*/ 81 h 928"/>
                <a:gd name="T32" fmla="*/ 877 w 1125"/>
                <a:gd name="T33" fmla="*/ 804 h 928"/>
                <a:gd name="T34" fmla="*/ 885 w 1125"/>
                <a:gd name="T35" fmla="*/ 846 h 928"/>
                <a:gd name="T36" fmla="*/ 123 w 1125"/>
                <a:gd name="T37" fmla="*/ 846 h 928"/>
                <a:gd name="T38" fmla="*/ 1043 w 1125"/>
                <a:gd name="T39" fmla="*/ 804 h 928"/>
                <a:gd name="T40" fmla="*/ 1000 w 1125"/>
                <a:gd name="T41" fmla="*/ 847 h 928"/>
                <a:gd name="T42" fmla="*/ 956 w 1125"/>
                <a:gd name="T43" fmla="*/ 804 h 928"/>
                <a:gd name="T44" fmla="*/ 956 w 1125"/>
                <a:gd name="T45" fmla="*/ 192 h 928"/>
                <a:gd name="T46" fmla="*/ 1043 w 1125"/>
                <a:gd name="T47" fmla="*/ 192 h 928"/>
                <a:gd name="T48" fmla="*/ 1043 w 1125"/>
                <a:gd name="T49" fmla="*/ 804 h 928"/>
                <a:gd name="T50" fmla="*/ 506 w 1125"/>
                <a:gd name="T51" fmla="*/ 523 h 928"/>
                <a:gd name="T52" fmla="*/ 796 w 1125"/>
                <a:gd name="T53" fmla="*/ 523 h 928"/>
                <a:gd name="T54" fmla="*/ 796 w 1125"/>
                <a:gd name="T55" fmla="*/ 452 h 928"/>
                <a:gd name="T56" fmla="*/ 506 w 1125"/>
                <a:gd name="T57" fmla="*/ 452 h 928"/>
                <a:gd name="T58" fmla="*/ 506 w 1125"/>
                <a:gd name="T59" fmla="*/ 523 h 928"/>
                <a:gd name="T60" fmla="*/ 506 w 1125"/>
                <a:gd name="T61" fmla="*/ 708 h 928"/>
                <a:gd name="T62" fmla="*/ 796 w 1125"/>
                <a:gd name="T63" fmla="*/ 708 h 928"/>
                <a:gd name="T64" fmla="*/ 796 w 1125"/>
                <a:gd name="T65" fmla="*/ 637 h 928"/>
                <a:gd name="T66" fmla="*/ 506 w 1125"/>
                <a:gd name="T67" fmla="*/ 637 h 928"/>
                <a:gd name="T68" fmla="*/ 506 w 1125"/>
                <a:gd name="T69" fmla="*/ 708 h 928"/>
                <a:gd name="T70" fmla="*/ 160 w 1125"/>
                <a:gd name="T71" fmla="*/ 197 h 928"/>
                <a:gd name="T72" fmla="*/ 160 w 1125"/>
                <a:gd name="T73" fmla="*/ 339 h 928"/>
                <a:gd name="T74" fmla="*/ 796 w 1125"/>
                <a:gd name="T75" fmla="*/ 339 h 928"/>
                <a:gd name="T76" fmla="*/ 796 w 1125"/>
                <a:gd name="T77" fmla="*/ 197 h 928"/>
                <a:gd name="T78" fmla="*/ 160 w 1125"/>
                <a:gd name="T79" fmla="*/ 197 h 928"/>
                <a:gd name="T80" fmla="*/ 160 w 1125"/>
                <a:gd name="T81" fmla="*/ 708 h 928"/>
                <a:gd name="T82" fmla="*/ 428 w 1125"/>
                <a:gd name="T83" fmla="*/ 708 h 928"/>
                <a:gd name="T84" fmla="*/ 428 w 1125"/>
                <a:gd name="T85" fmla="*/ 453 h 928"/>
                <a:gd name="T86" fmla="*/ 160 w 1125"/>
                <a:gd name="T87" fmla="*/ 453 h 928"/>
                <a:gd name="T88" fmla="*/ 160 w 1125"/>
                <a:gd name="T89" fmla="*/ 708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25" h="928">
                  <a:moveTo>
                    <a:pt x="1085" y="112"/>
                  </a:moveTo>
                  <a:lnTo>
                    <a:pt x="957" y="112"/>
                  </a:lnTo>
                  <a:lnTo>
                    <a:pt x="957" y="40"/>
                  </a:lnTo>
                  <a:cubicBezTo>
                    <a:pt x="957" y="19"/>
                    <a:pt x="938" y="0"/>
                    <a:pt x="916" y="0"/>
                  </a:cubicBezTo>
                  <a:lnTo>
                    <a:pt x="38" y="0"/>
                  </a:lnTo>
                  <a:cubicBezTo>
                    <a:pt x="17" y="0"/>
                    <a:pt x="0" y="19"/>
                    <a:pt x="0" y="40"/>
                  </a:cubicBezTo>
                  <a:lnTo>
                    <a:pt x="0" y="804"/>
                  </a:lnTo>
                  <a:cubicBezTo>
                    <a:pt x="0" y="872"/>
                    <a:pt x="56" y="928"/>
                    <a:pt x="123" y="928"/>
                  </a:cubicBezTo>
                  <a:lnTo>
                    <a:pt x="1001" y="928"/>
                  </a:lnTo>
                  <a:cubicBezTo>
                    <a:pt x="1068" y="927"/>
                    <a:pt x="1125" y="873"/>
                    <a:pt x="1125" y="804"/>
                  </a:cubicBezTo>
                  <a:lnTo>
                    <a:pt x="1125" y="150"/>
                  </a:lnTo>
                  <a:cubicBezTo>
                    <a:pt x="1125" y="129"/>
                    <a:pt x="1107" y="112"/>
                    <a:pt x="1085" y="112"/>
                  </a:cubicBezTo>
                  <a:close/>
                  <a:moveTo>
                    <a:pt x="123" y="846"/>
                  </a:moveTo>
                  <a:cubicBezTo>
                    <a:pt x="100" y="846"/>
                    <a:pt x="81" y="828"/>
                    <a:pt x="81" y="804"/>
                  </a:cubicBezTo>
                  <a:lnTo>
                    <a:pt x="81" y="81"/>
                  </a:lnTo>
                  <a:lnTo>
                    <a:pt x="877" y="81"/>
                  </a:lnTo>
                  <a:lnTo>
                    <a:pt x="877" y="804"/>
                  </a:lnTo>
                  <a:cubicBezTo>
                    <a:pt x="877" y="818"/>
                    <a:pt x="880" y="833"/>
                    <a:pt x="885" y="846"/>
                  </a:cubicBezTo>
                  <a:lnTo>
                    <a:pt x="123" y="846"/>
                  </a:lnTo>
                  <a:close/>
                  <a:moveTo>
                    <a:pt x="1043" y="804"/>
                  </a:moveTo>
                  <a:cubicBezTo>
                    <a:pt x="1043" y="828"/>
                    <a:pt x="1025" y="847"/>
                    <a:pt x="1000" y="847"/>
                  </a:cubicBezTo>
                  <a:cubicBezTo>
                    <a:pt x="976" y="847"/>
                    <a:pt x="956" y="828"/>
                    <a:pt x="956" y="804"/>
                  </a:cubicBezTo>
                  <a:lnTo>
                    <a:pt x="956" y="192"/>
                  </a:lnTo>
                  <a:lnTo>
                    <a:pt x="1043" y="192"/>
                  </a:lnTo>
                  <a:lnTo>
                    <a:pt x="1043" y="804"/>
                  </a:lnTo>
                  <a:close/>
                  <a:moveTo>
                    <a:pt x="506" y="523"/>
                  </a:moveTo>
                  <a:lnTo>
                    <a:pt x="796" y="523"/>
                  </a:lnTo>
                  <a:lnTo>
                    <a:pt x="796" y="452"/>
                  </a:lnTo>
                  <a:lnTo>
                    <a:pt x="506" y="452"/>
                  </a:lnTo>
                  <a:lnTo>
                    <a:pt x="506" y="523"/>
                  </a:lnTo>
                  <a:close/>
                  <a:moveTo>
                    <a:pt x="506" y="708"/>
                  </a:moveTo>
                  <a:lnTo>
                    <a:pt x="796" y="708"/>
                  </a:lnTo>
                  <a:lnTo>
                    <a:pt x="796" y="637"/>
                  </a:lnTo>
                  <a:lnTo>
                    <a:pt x="506" y="637"/>
                  </a:lnTo>
                  <a:lnTo>
                    <a:pt x="506" y="708"/>
                  </a:lnTo>
                  <a:close/>
                  <a:moveTo>
                    <a:pt x="160" y="197"/>
                  </a:moveTo>
                  <a:lnTo>
                    <a:pt x="160" y="339"/>
                  </a:lnTo>
                  <a:lnTo>
                    <a:pt x="796" y="339"/>
                  </a:lnTo>
                  <a:lnTo>
                    <a:pt x="796" y="197"/>
                  </a:lnTo>
                  <a:lnTo>
                    <a:pt x="160" y="197"/>
                  </a:lnTo>
                  <a:close/>
                  <a:moveTo>
                    <a:pt x="160" y="708"/>
                  </a:moveTo>
                  <a:lnTo>
                    <a:pt x="428" y="708"/>
                  </a:lnTo>
                  <a:lnTo>
                    <a:pt x="428" y="453"/>
                  </a:lnTo>
                  <a:lnTo>
                    <a:pt x="160" y="453"/>
                  </a:lnTo>
                  <a:lnTo>
                    <a:pt x="160" y="708"/>
                  </a:lnTo>
                  <a:close/>
                </a:path>
              </a:pathLst>
            </a:custGeom>
            <a:solidFill>
              <a:srgbClr val="009DE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  <p:grpSp>
          <p:nvGrpSpPr>
            <p:cNvPr id="11" name="Plus" descr="{&quot;Key&quot;:&quot;POWER_USER_SHAPE_ICON&quot;,&quot;Value&quot;:&quot;POWER_USER_SHAPE_ICON_STYLE_1&quot;}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2455997" y="1700808"/>
              <a:ext cx="754412" cy="756636"/>
              <a:chOff x="50" y="50"/>
              <a:chExt cx="339" cy="340"/>
            </a:xfrm>
            <a:solidFill>
              <a:srgbClr val="009DE0"/>
            </a:solidFill>
          </p:grpSpPr>
          <p:sp>
            <p:nvSpPr>
              <p:cNvPr id="12" name="Plus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35" y="135"/>
                <a:ext cx="169" cy="170"/>
              </a:xfrm>
              <a:custGeom>
                <a:avLst/>
                <a:gdLst>
                  <a:gd name="T0" fmla="*/ 50 w 100"/>
                  <a:gd name="T1" fmla="*/ 100 h 100"/>
                  <a:gd name="T2" fmla="*/ 63 w 100"/>
                  <a:gd name="T3" fmla="*/ 88 h 100"/>
                  <a:gd name="T4" fmla="*/ 63 w 100"/>
                  <a:gd name="T5" fmla="*/ 63 h 100"/>
                  <a:gd name="T6" fmla="*/ 88 w 100"/>
                  <a:gd name="T7" fmla="*/ 63 h 100"/>
                  <a:gd name="T8" fmla="*/ 100 w 100"/>
                  <a:gd name="T9" fmla="*/ 50 h 100"/>
                  <a:gd name="T10" fmla="*/ 88 w 100"/>
                  <a:gd name="T11" fmla="*/ 38 h 100"/>
                  <a:gd name="T12" fmla="*/ 63 w 100"/>
                  <a:gd name="T13" fmla="*/ 38 h 100"/>
                  <a:gd name="T14" fmla="*/ 63 w 100"/>
                  <a:gd name="T15" fmla="*/ 13 h 100"/>
                  <a:gd name="T16" fmla="*/ 50 w 100"/>
                  <a:gd name="T17" fmla="*/ 0 h 100"/>
                  <a:gd name="T18" fmla="*/ 38 w 100"/>
                  <a:gd name="T19" fmla="*/ 13 h 100"/>
                  <a:gd name="T20" fmla="*/ 38 w 100"/>
                  <a:gd name="T21" fmla="*/ 38 h 100"/>
                  <a:gd name="T22" fmla="*/ 13 w 100"/>
                  <a:gd name="T23" fmla="*/ 38 h 100"/>
                  <a:gd name="T24" fmla="*/ 0 w 100"/>
                  <a:gd name="T25" fmla="*/ 50 h 100"/>
                  <a:gd name="T26" fmla="*/ 13 w 100"/>
                  <a:gd name="T27" fmla="*/ 63 h 100"/>
                  <a:gd name="T28" fmla="*/ 38 w 100"/>
                  <a:gd name="T29" fmla="*/ 63 h 100"/>
                  <a:gd name="T30" fmla="*/ 38 w 100"/>
                  <a:gd name="T31" fmla="*/ 88 h 100"/>
                  <a:gd name="T32" fmla="*/ 50 w 100"/>
                  <a:gd name="T33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0" h="100">
                    <a:moveTo>
                      <a:pt x="50" y="100"/>
                    </a:moveTo>
                    <a:cubicBezTo>
                      <a:pt x="57" y="100"/>
                      <a:pt x="63" y="94"/>
                      <a:pt x="63" y="88"/>
                    </a:cubicBezTo>
                    <a:lnTo>
                      <a:pt x="63" y="63"/>
                    </a:lnTo>
                    <a:lnTo>
                      <a:pt x="88" y="63"/>
                    </a:lnTo>
                    <a:cubicBezTo>
                      <a:pt x="94" y="63"/>
                      <a:pt x="100" y="57"/>
                      <a:pt x="100" y="50"/>
                    </a:cubicBezTo>
                    <a:cubicBezTo>
                      <a:pt x="100" y="43"/>
                      <a:pt x="94" y="38"/>
                      <a:pt x="88" y="38"/>
                    </a:cubicBezTo>
                    <a:lnTo>
                      <a:pt x="63" y="38"/>
                    </a:lnTo>
                    <a:lnTo>
                      <a:pt x="63" y="13"/>
                    </a:lnTo>
                    <a:cubicBezTo>
                      <a:pt x="63" y="6"/>
                      <a:pt x="57" y="0"/>
                      <a:pt x="50" y="0"/>
                    </a:cubicBezTo>
                    <a:cubicBezTo>
                      <a:pt x="43" y="0"/>
                      <a:pt x="38" y="6"/>
                      <a:pt x="38" y="13"/>
                    </a:cubicBezTo>
                    <a:lnTo>
                      <a:pt x="38" y="38"/>
                    </a:lnTo>
                    <a:lnTo>
                      <a:pt x="13" y="38"/>
                    </a:lnTo>
                    <a:cubicBezTo>
                      <a:pt x="6" y="38"/>
                      <a:pt x="0" y="43"/>
                      <a:pt x="0" y="50"/>
                    </a:cubicBezTo>
                    <a:cubicBezTo>
                      <a:pt x="0" y="57"/>
                      <a:pt x="6" y="63"/>
                      <a:pt x="13" y="63"/>
                    </a:cubicBezTo>
                    <a:lnTo>
                      <a:pt x="38" y="63"/>
                    </a:lnTo>
                    <a:lnTo>
                      <a:pt x="38" y="88"/>
                    </a:lnTo>
                    <a:cubicBezTo>
                      <a:pt x="38" y="94"/>
                      <a:pt x="43" y="100"/>
                      <a:pt x="50" y="10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13" name="Plus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50" y="50"/>
                <a:ext cx="339" cy="340"/>
              </a:xfrm>
              <a:custGeom>
                <a:avLst/>
                <a:gdLst>
                  <a:gd name="T0" fmla="*/ 100 w 200"/>
                  <a:gd name="T1" fmla="*/ 0 h 200"/>
                  <a:gd name="T2" fmla="*/ 0 w 200"/>
                  <a:gd name="T3" fmla="*/ 100 h 200"/>
                  <a:gd name="T4" fmla="*/ 100 w 200"/>
                  <a:gd name="T5" fmla="*/ 200 h 200"/>
                  <a:gd name="T6" fmla="*/ 151 w 200"/>
                  <a:gd name="T7" fmla="*/ 186 h 200"/>
                  <a:gd name="T8" fmla="*/ 156 w 200"/>
                  <a:gd name="T9" fmla="*/ 169 h 200"/>
                  <a:gd name="T10" fmla="*/ 139 w 200"/>
                  <a:gd name="T11" fmla="*/ 164 h 200"/>
                  <a:gd name="T12" fmla="*/ 100 w 200"/>
                  <a:gd name="T13" fmla="*/ 175 h 200"/>
                  <a:gd name="T14" fmla="*/ 25 w 200"/>
                  <a:gd name="T15" fmla="*/ 100 h 200"/>
                  <a:gd name="T16" fmla="*/ 100 w 200"/>
                  <a:gd name="T17" fmla="*/ 25 h 200"/>
                  <a:gd name="T18" fmla="*/ 175 w 200"/>
                  <a:gd name="T19" fmla="*/ 100 h 200"/>
                  <a:gd name="T20" fmla="*/ 164 w 200"/>
                  <a:gd name="T21" fmla="*/ 139 h 200"/>
                  <a:gd name="T22" fmla="*/ 169 w 200"/>
                  <a:gd name="T23" fmla="*/ 156 h 200"/>
                  <a:gd name="T24" fmla="*/ 186 w 200"/>
                  <a:gd name="T25" fmla="*/ 151 h 200"/>
                  <a:gd name="T26" fmla="*/ 200 w 200"/>
                  <a:gd name="T27" fmla="*/ 100 h 200"/>
                  <a:gd name="T28" fmla="*/ 100 w 200"/>
                  <a:gd name="T29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0" h="200">
                    <a:moveTo>
                      <a:pt x="100" y="0"/>
                    </a:moveTo>
                    <a:cubicBezTo>
                      <a:pt x="45" y="0"/>
                      <a:pt x="0" y="45"/>
                      <a:pt x="0" y="100"/>
                    </a:cubicBezTo>
                    <a:cubicBezTo>
                      <a:pt x="0" y="155"/>
                      <a:pt x="45" y="200"/>
                      <a:pt x="100" y="200"/>
                    </a:cubicBezTo>
                    <a:cubicBezTo>
                      <a:pt x="118" y="200"/>
                      <a:pt x="136" y="195"/>
                      <a:pt x="151" y="186"/>
                    </a:cubicBezTo>
                    <a:cubicBezTo>
                      <a:pt x="157" y="182"/>
                      <a:pt x="159" y="174"/>
                      <a:pt x="156" y="169"/>
                    </a:cubicBezTo>
                    <a:cubicBezTo>
                      <a:pt x="152" y="163"/>
                      <a:pt x="144" y="161"/>
                      <a:pt x="139" y="164"/>
                    </a:cubicBezTo>
                    <a:cubicBezTo>
                      <a:pt x="127" y="171"/>
                      <a:pt x="114" y="175"/>
                      <a:pt x="100" y="175"/>
                    </a:cubicBezTo>
                    <a:cubicBezTo>
                      <a:pt x="59" y="175"/>
                      <a:pt x="25" y="141"/>
                      <a:pt x="25" y="100"/>
                    </a:cubicBezTo>
                    <a:cubicBezTo>
                      <a:pt x="25" y="59"/>
                      <a:pt x="59" y="25"/>
                      <a:pt x="100" y="25"/>
                    </a:cubicBezTo>
                    <a:cubicBezTo>
                      <a:pt x="141" y="25"/>
                      <a:pt x="175" y="59"/>
                      <a:pt x="175" y="100"/>
                    </a:cubicBezTo>
                    <a:cubicBezTo>
                      <a:pt x="175" y="114"/>
                      <a:pt x="171" y="127"/>
                      <a:pt x="164" y="139"/>
                    </a:cubicBezTo>
                    <a:cubicBezTo>
                      <a:pt x="161" y="144"/>
                      <a:pt x="163" y="152"/>
                      <a:pt x="169" y="156"/>
                    </a:cubicBezTo>
                    <a:cubicBezTo>
                      <a:pt x="174" y="159"/>
                      <a:pt x="182" y="157"/>
                      <a:pt x="186" y="151"/>
                    </a:cubicBezTo>
                    <a:cubicBezTo>
                      <a:pt x="195" y="136"/>
                      <a:pt x="200" y="118"/>
                      <a:pt x="200" y="100"/>
                    </a:cubicBezTo>
                    <a:cubicBezTo>
                      <a:pt x="200" y="45"/>
                      <a:pt x="155" y="0"/>
                      <a:pt x="100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orbel" panose="020B0503020204020204" pitchFamily="34" charset="0"/>
                </a:endParaRPr>
              </a:p>
            </p:txBody>
          </p:sp>
        </p:grpSp>
      </p:grpSp>
      <p:grpSp>
        <p:nvGrpSpPr>
          <p:cNvPr id="14" name="Groupe 13"/>
          <p:cNvGrpSpPr/>
          <p:nvPr/>
        </p:nvGrpSpPr>
        <p:grpSpPr>
          <a:xfrm>
            <a:off x="7154530" y="3766444"/>
            <a:ext cx="3010660" cy="1545103"/>
            <a:chOff x="3361540" y="3689231"/>
            <a:chExt cx="3658732" cy="1949579"/>
          </a:xfrm>
        </p:grpSpPr>
        <p:grpSp>
          <p:nvGrpSpPr>
            <p:cNvPr id="15" name="File_PDF2" descr="{&quot;Key&quot;:&quot;POWER_USER_SHAPE_ICON&quot;,&quot;Value&quot;:&quot;POWER_USER_SHAPE_ICON_STYLE_1&quot;}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 bwMode="auto">
            <a:xfrm>
              <a:off x="3958148" y="4182969"/>
              <a:ext cx="826308" cy="934945"/>
              <a:chOff x="3337" y="1591"/>
              <a:chExt cx="1004" cy="1136"/>
            </a:xfrm>
            <a:solidFill>
              <a:srgbClr val="009DE0"/>
            </a:solidFill>
          </p:grpSpPr>
          <p:sp>
            <p:nvSpPr>
              <p:cNvPr id="20" name="Freeform 273"/>
              <p:cNvSpPr>
                <a:spLocks/>
              </p:cNvSpPr>
              <p:nvPr/>
            </p:nvSpPr>
            <p:spPr bwMode="auto">
              <a:xfrm>
                <a:off x="3512" y="2124"/>
                <a:ext cx="90" cy="103"/>
              </a:xfrm>
              <a:custGeom>
                <a:avLst/>
                <a:gdLst>
                  <a:gd name="T0" fmla="*/ 545 w 545"/>
                  <a:gd name="T1" fmla="*/ 296 h 625"/>
                  <a:gd name="T2" fmla="*/ 189 w 545"/>
                  <a:gd name="T3" fmla="*/ 0 h 625"/>
                  <a:gd name="T4" fmla="*/ 0 w 545"/>
                  <a:gd name="T5" fmla="*/ 18 h 625"/>
                  <a:gd name="T6" fmla="*/ 0 w 545"/>
                  <a:gd name="T7" fmla="*/ 613 h 625"/>
                  <a:gd name="T8" fmla="*/ 153 w 545"/>
                  <a:gd name="T9" fmla="*/ 625 h 625"/>
                  <a:gd name="T10" fmla="*/ 545 w 545"/>
                  <a:gd name="T11" fmla="*/ 296 h 6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5" h="625">
                    <a:moveTo>
                      <a:pt x="545" y="296"/>
                    </a:moveTo>
                    <a:cubicBezTo>
                      <a:pt x="545" y="110"/>
                      <a:pt x="416" y="0"/>
                      <a:pt x="189" y="0"/>
                    </a:cubicBezTo>
                    <a:cubicBezTo>
                      <a:pt x="96" y="0"/>
                      <a:pt x="33" y="9"/>
                      <a:pt x="0" y="18"/>
                    </a:cubicBezTo>
                    <a:lnTo>
                      <a:pt x="0" y="613"/>
                    </a:lnTo>
                    <a:cubicBezTo>
                      <a:pt x="39" y="622"/>
                      <a:pt x="87" y="625"/>
                      <a:pt x="153" y="625"/>
                    </a:cubicBezTo>
                    <a:cubicBezTo>
                      <a:pt x="395" y="625"/>
                      <a:pt x="545" y="502"/>
                      <a:pt x="545" y="296"/>
                    </a:cubicBezTo>
                    <a:close/>
                  </a:path>
                </a:pathLst>
              </a:custGeom>
              <a:grpFill/>
              <a:ln w="0">
                <a:solidFill>
                  <a:srgbClr val="009DE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21" name="Freeform 274"/>
              <p:cNvSpPr>
                <a:spLocks/>
              </p:cNvSpPr>
              <p:nvPr/>
            </p:nvSpPr>
            <p:spPr bwMode="auto">
              <a:xfrm>
                <a:off x="3800" y="2125"/>
                <a:ext cx="139" cy="223"/>
              </a:xfrm>
              <a:custGeom>
                <a:avLst/>
                <a:gdLst>
                  <a:gd name="T0" fmla="*/ 207 w 844"/>
                  <a:gd name="T1" fmla="*/ 0 h 1349"/>
                  <a:gd name="T2" fmla="*/ 0 w 844"/>
                  <a:gd name="T3" fmla="*/ 18 h 1349"/>
                  <a:gd name="T4" fmla="*/ 0 w 844"/>
                  <a:gd name="T5" fmla="*/ 1337 h 1349"/>
                  <a:gd name="T6" fmla="*/ 159 w 844"/>
                  <a:gd name="T7" fmla="*/ 1346 h 1349"/>
                  <a:gd name="T8" fmla="*/ 841 w 844"/>
                  <a:gd name="T9" fmla="*/ 640 h 1349"/>
                  <a:gd name="T10" fmla="*/ 207 w 844"/>
                  <a:gd name="T11" fmla="*/ 0 h 1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4" h="1349">
                    <a:moveTo>
                      <a:pt x="207" y="0"/>
                    </a:moveTo>
                    <a:cubicBezTo>
                      <a:pt x="105" y="0"/>
                      <a:pt x="39" y="9"/>
                      <a:pt x="0" y="18"/>
                    </a:cubicBezTo>
                    <a:lnTo>
                      <a:pt x="0" y="1337"/>
                    </a:lnTo>
                    <a:cubicBezTo>
                      <a:pt x="39" y="1346"/>
                      <a:pt x="102" y="1346"/>
                      <a:pt x="159" y="1346"/>
                    </a:cubicBezTo>
                    <a:cubicBezTo>
                      <a:pt x="572" y="1349"/>
                      <a:pt x="841" y="1121"/>
                      <a:pt x="841" y="640"/>
                    </a:cubicBezTo>
                    <a:cubicBezTo>
                      <a:pt x="844" y="221"/>
                      <a:pt x="599" y="0"/>
                      <a:pt x="207" y="0"/>
                    </a:cubicBezTo>
                    <a:close/>
                  </a:path>
                </a:pathLst>
              </a:custGeom>
              <a:grpFill/>
              <a:ln w="0">
                <a:solidFill>
                  <a:srgbClr val="009DE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22" name="Freeform 275"/>
              <p:cNvSpPr>
                <a:spLocks noEditPoints="1"/>
              </p:cNvSpPr>
              <p:nvPr/>
            </p:nvSpPr>
            <p:spPr bwMode="auto">
              <a:xfrm>
                <a:off x="3337" y="1591"/>
                <a:ext cx="1004" cy="1136"/>
              </a:xfrm>
              <a:custGeom>
                <a:avLst/>
                <a:gdLst>
                  <a:gd name="T0" fmla="*/ 5546 w 6097"/>
                  <a:gd name="T1" fmla="*/ 2463 h 6885"/>
                  <a:gd name="T2" fmla="*/ 5545 w 6097"/>
                  <a:gd name="T3" fmla="*/ 1650 h 6885"/>
                  <a:gd name="T4" fmla="*/ 4185 w 6097"/>
                  <a:gd name="T5" fmla="*/ 46 h 6885"/>
                  <a:gd name="T6" fmla="*/ 4157 w 6097"/>
                  <a:gd name="T7" fmla="*/ 23 h 6885"/>
                  <a:gd name="T8" fmla="*/ 4122 w 6097"/>
                  <a:gd name="T9" fmla="*/ 6 h 6885"/>
                  <a:gd name="T10" fmla="*/ 4083 w 6097"/>
                  <a:gd name="T11" fmla="*/ 0 h 6885"/>
                  <a:gd name="T12" fmla="*/ 551 w 6097"/>
                  <a:gd name="T13" fmla="*/ 270 h 6885"/>
                  <a:gd name="T14" fmla="*/ 386 w 6097"/>
                  <a:gd name="T15" fmla="*/ 2463 h 6885"/>
                  <a:gd name="T16" fmla="*/ 0 w 6097"/>
                  <a:gd name="T17" fmla="*/ 4855 h 6885"/>
                  <a:gd name="T18" fmla="*/ 551 w 6097"/>
                  <a:gd name="T19" fmla="*/ 5241 h 6885"/>
                  <a:gd name="T20" fmla="*/ 821 w 6097"/>
                  <a:gd name="T21" fmla="*/ 6885 h 6885"/>
                  <a:gd name="T22" fmla="*/ 5546 w 6097"/>
                  <a:gd name="T23" fmla="*/ 6615 h 6885"/>
                  <a:gd name="T24" fmla="*/ 5711 w 6097"/>
                  <a:gd name="T25" fmla="*/ 5241 h 6885"/>
                  <a:gd name="T26" fmla="*/ 6097 w 6097"/>
                  <a:gd name="T27" fmla="*/ 2849 h 6885"/>
                  <a:gd name="T28" fmla="*/ 821 w 6097"/>
                  <a:gd name="T29" fmla="*/ 270 h 6885"/>
                  <a:gd name="T30" fmla="*/ 3948 w 6097"/>
                  <a:gd name="T31" fmla="*/ 1651 h 6885"/>
                  <a:gd name="T32" fmla="*/ 5276 w 6097"/>
                  <a:gd name="T33" fmla="*/ 1786 h 6885"/>
                  <a:gd name="T34" fmla="*/ 821 w 6097"/>
                  <a:gd name="T35" fmla="*/ 2463 h 6885"/>
                  <a:gd name="T36" fmla="*/ 4135 w 6097"/>
                  <a:gd name="T37" fmla="*/ 3863 h 6885"/>
                  <a:gd name="T38" fmla="*/ 2870 w 6097"/>
                  <a:gd name="T39" fmla="*/ 4940 h 6885"/>
                  <a:gd name="T40" fmla="*/ 2353 w 6097"/>
                  <a:gd name="T41" fmla="*/ 2930 h 6885"/>
                  <a:gd name="T42" fmla="*/ 3795 w 6097"/>
                  <a:gd name="T43" fmla="*/ 3103 h 6885"/>
                  <a:gd name="T44" fmla="*/ 615 w 6097"/>
                  <a:gd name="T45" fmla="*/ 4919 h 6885"/>
                  <a:gd name="T46" fmla="*/ 1231 w 6097"/>
                  <a:gd name="T47" fmla="*/ 2888 h 6885"/>
                  <a:gd name="T48" fmla="*/ 2062 w 6097"/>
                  <a:gd name="T49" fmla="*/ 3516 h 6885"/>
                  <a:gd name="T50" fmla="*/ 1222 w 6097"/>
                  <a:gd name="T51" fmla="*/ 4207 h 6885"/>
                  <a:gd name="T52" fmla="*/ 1066 w 6097"/>
                  <a:gd name="T53" fmla="*/ 4919 h 6885"/>
                  <a:gd name="T54" fmla="*/ 5276 w 6097"/>
                  <a:gd name="T55" fmla="*/ 6542 h 6885"/>
                  <a:gd name="T56" fmla="*/ 821 w 6097"/>
                  <a:gd name="T57" fmla="*/ 5241 h 6885"/>
                  <a:gd name="T58" fmla="*/ 5276 w 6097"/>
                  <a:gd name="T59" fmla="*/ 6542 h 6885"/>
                  <a:gd name="T60" fmla="*/ 4892 w 6097"/>
                  <a:gd name="T61" fmla="*/ 3277 h 6885"/>
                  <a:gd name="T62" fmla="*/ 5616 w 6097"/>
                  <a:gd name="T63" fmla="*/ 3737 h 6885"/>
                  <a:gd name="T64" fmla="*/ 4892 w 6097"/>
                  <a:gd name="T65" fmla="*/ 4108 h 6885"/>
                  <a:gd name="T66" fmla="*/ 4435 w 6097"/>
                  <a:gd name="T67" fmla="*/ 4919 h 6885"/>
                  <a:gd name="T68" fmla="*/ 5667 w 6097"/>
                  <a:gd name="T69" fmla="*/ 2903 h 68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97" h="6885">
                    <a:moveTo>
                      <a:pt x="5711" y="2463"/>
                    </a:moveTo>
                    <a:lnTo>
                      <a:pt x="5546" y="2463"/>
                    </a:lnTo>
                    <a:lnTo>
                      <a:pt x="5546" y="1665"/>
                    </a:lnTo>
                    <a:cubicBezTo>
                      <a:pt x="5546" y="1660"/>
                      <a:pt x="5545" y="1655"/>
                      <a:pt x="5545" y="1650"/>
                    </a:cubicBezTo>
                    <a:cubicBezTo>
                      <a:pt x="5544" y="1618"/>
                      <a:pt x="5534" y="1587"/>
                      <a:pt x="5513" y="1563"/>
                    </a:cubicBezTo>
                    <a:lnTo>
                      <a:pt x="4185" y="46"/>
                    </a:lnTo>
                    <a:cubicBezTo>
                      <a:pt x="4185" y="46"/>
                      <a:pt x="4184" y="46"/>
                      <a:pt x="4184" y="45"/>
                    </a:cubicBezTo>
                    <a:cubicBezTo>
                      <a:pt x="4176" y="36"/>
                      <a:pt x="4167" y="29"/>
                      <a:pt x="4157" y="23"/>
                    </a:cubicBezTo>
                    <a:cubicBezTo>
                      <a:pt x="4154" y="21"/>
                      <a:pt x="4151" y="19"/>
                      <a:pt x="4148" y="17"/>
                    </a:cubicBezTo>
                    <a:cubicBezTo>
                      <a:pt x="4140" y="13"/>
                      <a:pt x="4131" y="9"/>
                      <a:pt x="4122" y="6"/>
                    </a:cubicBezTo>
                    <a:cubicBezTo>
                      <a:pt x="4119" y="6"/>
                      <a:pt x="4117" y="5"/>
                      <a:pt x="4114" y="4"/>
                    </a:cubicBezTo>
                    <a:cubicBezTo>
                      <a:pt x="4104" y="1"/>
                      <a:pt x="4094" y="0"/>
                      <a:pt x="4083" y="0"/>
                    </a:cubicBezTo>
                    <a:lnTo>
                      <a:pt x="821" y="0"/>
                    </a:lnTo>
                    <a:cubicBezTo>
                      <a:pt x="672" y="0"/>
                      <a:pt x="551" y="121"/>
                      <a:pt x="551" y="270"/>
                    </a:cubicBezTo>
                    <a:lnTo>
                      <a:pt x="551" y="2463"/>
                    </a:lnTo>
                    <a:lnTo>
                      <a:pt x="386" y="2463"/>
                    </a:lnTo>
                    <a:cubicBezTo>
                      <a:pt x="173" y="2463"/>
                      <a:pt x="0" y="2635"/>
                      <a:pt x="0" y="2849"/>
                    </a:cubicBezTo>
                    <a:lnTo>
                      <a:pt x="0" y="4855"/>
                    </a:lnTo>
                    <a:cubicBezTo>
                      <a:pt x="0" y="5068"/>
                      <a:pt x="173" y="5241"/>
                      <a:pt x="386" y="5241"/>
                    </a:cubicBezTo>
                    <a:lnTo>
                      <a:pt x="551" y="5241"/>
                    </a:lnTo>
                    <a:lnTo>
                      <a:pt x="551" y="6615"/>
                    </a:lnTo>
                    <a:cubicBezTo>
                      <a:pt x="551" y="6764"/>
                      <a:pt x="672" y="6885"/>
                      <a:pt x="821" y="6885"/>
                    </a:cubicBezTo>
                    <a:lnTo>
                      <a:pt x="5276" y="6885"/>
                    </a:lnTo>
                    <a:cubicBezTo>
                      <a:pt x="5425" y="6885"/>
                      <a:pt x="5546" y="6764"/>
                      <a:pt x="5546" y="6615"/>
                    </a:cubicBezTo>
                    <a:lnTo>
                      <a:pt x="5546" y="5241"/>
                    </a:lnTo>
                    <a:lnTo>
                      <a:pt x="5711" y="5241"/>
                    </a:lnTo>
                    <a:cubicBezTo>
                      <a:pt x="5924" y="5241"/>
                      <a:pt x="6097" y="5068"/>
                      <a:pt x="6097" y="4855"/>
                    </a:cubicBezTo>
                    <a:lnTo>
                      <a:pt x="6097" y="2849"/>
                    </a:lnTo>
                    <a:cubicBezTo>
                      <a:pt x="6097" y="2635"/>
                      <a:pt x="5924" y="2463"/>
                      <a:pt x="5711" y="2463"/>
                    </a:cubicBezTo>
                    <a:close/>
                    <a:moveTo>
                      <a:pt x="821" y="270"/>
                    </a:moveTo>
                    <a:lnTo>
                      <a:pt x="3948" y="270"/>
                    </a:lnTo>
                    <a:lnTo>
                      <a:pt x="3948" y="1651"/>
                    </a:lnTo>
                    <a:cubicBezTo>
                      <a:pt x="3948" y="1726"/>
                      <a:pt x="4009" y="1786"/>
                      <a:pt x="4083" y="1786"/>
                    </a:cubicBezTo>
                    <a:lnTo>
                      <a:pt x="5276" y="1786"/>
                    </a:lnTo>
                    <a:lnTo>
                      <a:pt x="5276" y="2463"/>
                    </a:lnTo>
                    <a:lnTo>
                      <a:pt x="821" y="2463"/>
                    </a:lnTo>
                    <a:lnTo>
                      <a:pt x="821" y="270"/>
                    </a:lnTo>
                    <a:close/>
                    <a:moveTo>
                      <a:pt x="4135" y="3863"/>
                    </a:moveTo>
                    <a:cubicBezTo>
                      <a:pt x="4135" y="4249"/>
                      <a:pt x="3995" y="4515"/>
                      <a:pt x="3800" y="4679"/>
                    </a:cubicBezTo>
                    <a:cubicBezTo>
                      <a:pt x="3588" y="4856"/>
                      <a:pt x="3265" y="4940"/>
                      <a:pt x="2870" y="4940"/>
                    </a:cubicBezTo>
                    <a:cubicBezTo>
                      <a:pt x="2634" y="4940"/>
                      <a:pt x="2467" y="4925"/>
                      <a:pt x="2353" y="4910"/>
                    </a:cubicBezTo>
                    <a:lnTo>
                      <a:pt x="2353" y="2930"/>
                    </a:lnTo>
                    <a:cubicBezTo>
                      <a:pt x="2520" y="2903"/>
                      <a:pt x="2739" y="2888"/>
                      <a:pt x="2969" y="2888"/>
                    </a:cubicBezTo>
                    <a:cubicBezTo>
                      <a:pt x="3352" y="2888"/>
                      <a:pt x="3600" y="2957"/>
                      <a:pt x="3795" y="3103"/>
                    </a:cubicBezTo>
                    <a:cubicBezTo>
                      <a:pt x="4004" y="3259"/>
                      <a:pt x="4135" y="3507"/>
                      <a:pt x="4135" y="3863"/>
                    </a:cubicBezTo>
                    <a:close/>
                    <a:moveTo>
                      <a:pt x="615" y="4919"/>
                    </a:moveTo>
                    <a:lnTo>
                      <a:pt x="615" y="2930"/>
                    </a:lnTo>
                    <a:cubicBezTo>
                      <a:pt x="755" y="2906"/>
                      <a:pt x="953" y="2888"/>
                      <a:pt x="1231" y="2888"/>
                    </a:cubicBezTo>
                    <a:cubicBezTo>
                      <a:pt x="1512" y="2888"/>
                      <a:pt x="1713" y="2942"/>
                      <a:pt x="1847" y="3049"/>
                    </a:cubicBezTo>
                    <a:cubicBezTo>
                      <a:pt x="1976" y="3151"/>
                      <a:pt x="2062" y="3319"/>
                      <a:pt x="2062" y="3516"/>
                    </a:cubicBezTo>
                    <a:cubicBezTo>
                      <a:pt x="2062" y="3713"/>
                      <a:pt x="1997" y="3881"/>
                      <a:pt x="1877" y="3994"/>
                    </a:cubicBezTo>
                    <a:cubicBezTo>
                      <a:pt x="1721" y="4141"/>
                      <a:pt x="1491" y="4207"/>
                      <a:pt x="1222" y="4207"/>
                    </a:cubicBezTo>
                    <a:cubicBezTo>
                      <a:pt x="1162" y="4207"/>
                      <a:pt x="1108" y="4204"/>
                      <a:pt x="1066" y="4198"/>
                    </a:cubicBezTo>
                    <a:lnTo>
                      <a:pt x="1066" y="4919"/>
                    </a:lnTo>
                    <a:lnTo>
                      <a:pt x="615" y="4919"/>
                    </a:lnTo>
                    <a:close/>
                    <a:moveTo>
                      <a:pt x="5276" y="6542"/>
                    </a:moveTo>
                    <a:lnTo>
                      <a:pt x="821" y="6542"/>
                    </a:lnTo>
                    <a:lnTo>
                      <a:pt x="821" y="5241"/>
                    </a:lnTo>
                    <a:lnTo>
                      <a:pt x="5276" y="5241"/>
                    </a:lnTo>
                    <a:lnTo>
                      <a:pt x="5276" y="6542"/>
                    </a:lnTo>
                    <a:close/>
                    <a:moveTo>
                      <a:pt x="5667" y="3277"/>
                    </a:moveTo>
                    <a:lnTo>
                      <a:pt x="4892" y="3277"/>
                    </a:lnTo>
                    <a:lnTo>
                      <a:pt x="4892" y="3737"/>
                    </a:lnTo>
                    <a:lnTo>
                      <a:pt x="5616" y="3737"/>
                    </a:lnTo>
                    <a:lnTo>
                      <a:pt x="5616" y="4108"/>
                    </a:lnTo>
                    <a:lnTo>
                      <a:pt x="4892" y="4108"/>
                    </a:lnTo>
                    <a:lnTo>
                      <a:pt x="4892" y="4919"/>
                    </a:lnTo>
                    <a:lnTo>
                      <a:pt x="4435" y="4919"/>
                    </a:lnTo>
                    <a:lnTo>
                      <a:pt x="4435" y="2903"/>
                    </a:lnTo>
                    <a:lnTo>
                      <a:pt x="5667" y="2903"/>
                    </a:lnTo>
                    <a:lnTo>
                      <a:pt x="5667" y="3277"/>
                    </a:lnTo>
                    <a:close/>
                  </a:path>
                </a:pathLst>
              </a:custGeom>
              <a:grpFill/>
              <a:ln w="0">
                <a:solidFill>
                  <a:srgbClr val="009DE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orbel" panose="020B0503020204020204" pitchFamily="34" charset="0"/>
                </a:endParaRPr>
              </a:p>
            </p:txBody>
          </p:sp>
        </p:grpSp>
        <p:sp>
          <p:nvSpPr>
            <p:cNvPr id="16" name="Newspaper3" descr="{&quot;Key&quot;:&quot;POWER_USER_SHAPE_ICON&quot;,&quot;Value&quot;:&quot;POWER_USER_SHAPE_ICON_STYLE_1&quot;}"/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6062192" y="4325568"/>
              <a:ext cx="958080" cy="792346"/>
            </a:xfrm>
            <a:custGeom>
              <a:avLst/>
              <a:gdLst>
                <a:gd name="T0" fmla="*/ 1085 w 1125"/>
                <a:gd name="T1" fmla="*/ 112 h 928"/>
                <a:gd name="T2" fmla="*/ 957 w 1125"/>
                <a:gd name="T3" fmla="*/ 112 h 928"/>
                <a:gd name="T4" fmla="*/ 957 w 1125"/>
                <a:gd name="T5" fmla="*/ 40 h 928"/>
                <a:gd name="T6" fmla="*/ 916 w 1125"/>
                <a:gd name="T7" fmla="*/ 0 h 928"/>
                <a:gd name="T8" fmla="*/ 38 w 1125"/>
                <a:gd name="T9" fmla="*/ 0 h 928"/>
                <a:gd name="T10" fmla="*/ 0 w 1125"/>
                <a:gd name="T11" fmla="*/ 40 h 928"/>
                <a:gd name="T12" fmla="*/ 0 w 1125"/>
                <a:gd name="T13" fmla="*/ 804 h 928"/>
                <a:gd name="T14" fmla="*/ 123 w 1125"/>
                <a:gd name="T15" fmla="*/ 928 h 928"/>
                <a:gd name="T16" fmla="*/ 1001 w 1125"/>
                <a:gd name="T17" fmla="*/ 928 h 928"/>
                <a:gd name="T18" fmla="*/ 1125 w 1125"/>
                <a:gd name="T19" fmla="*/ 804 h 928"/>
                <a:gd name="T20" fmla="*/ 1125 w 1125"/>
                <a:gd name="T21" fmla="*/ 150 h 928"/>
                <a:gd name="T22" fmla="*/ 1085 w 1125"/>
                <a:gd name="T23" fmla="*/ 112 h 928"/>
                <a:gd name="T24" fmla="*/ 123 w 1125"/>
                <a:gd name="T25" fmla="*/ 846 h 928"/>
                <a:gd name="T26" fmla="*/ 81 w 1125"/>
                <a:gd name="T27" fmla="*/ 804 h 928"/>
                <a:gd name="T28" fmla="*/ 81 w 1125"/>
                <a:gd name="T29" fmla="*/ 81 h 928"/>
                <a:gd name="T30" fmla="*/ 877 w 1125"/>
                <a:gd name="T31" fmla="*/ 81 h 928"/>
                <a:gd name="T32" fmla="*/ 877 w 1125"/>
                <a:gd name="T33" fmla="*/ 804 h 928"/>
                <a:gd name="T34" fmla="*/ 885 w 1125"/>
                <a:gd name="T35" fmla="*/ 846 h 928"/>
                <a:gd name="T36" fmla="*/ 123 w 1125"/>
                <a:gd name="T37" fmla="*/ 846 h 928"/>
                <a:gd name="T38" fmla="*/ 1043 w 1125"/>
                <a:gd name="T39" fmla="*/ 804 h 928"/>
                <a:gd name="T40" fmla="*/ 1000 w 1125"/>
                <a:gd name="T41" fmla="*/ 847 h 928"/>
                <a:gd name="T42" fmla="*/ 956 w 1125"/>
                <a:gd name="T43" fmla="*/ 804 h 928"/>
                <a:gd name="T44" fmla="*/ 956 w 1125"/>
                <a:gd name="T45" fmla="*/ 192 h 928"/>
                <a:gd name="T46" fmla="*/ 1043 w 1125"/>
                <a:gd name="T47" fmla="*/ 192 h 928"/>
                <a:gd name="T48" fmla="*/ 1043 w 1125"/>
                <a:gd name="T49" fmla="*/ 804 h 928"/>
                <a:gd name="T50" fmla="*/ 506 w 1125"/>
                <a:gd name="T51" fmla="*/ 523 h 928"/>
                <a:gd name="T52" fmla="*/ 796 w 1125"/>
                <a:gd name="T53" fmla="*/ 523 h 928"/>
                <a:gd name="T54" fmla="*/ 796 w 1125"/>
                <a:gd name="T55" fmla="*/ 452 h 928"/>
                <a:gd name="T56" fmla="*/ 506 w 1125"/>
                <a:gd name="T57" fmla="*/ 452 h 928"/>
                <a:gd name="T58" fmla="*/ 506 w 1125"/>
                <a:gd name="T59" fmla="*/ 523 h 928"/>
                <a:gd name="T60" fmla="*/ 506 w 1125"/>
                <a:gd name="T61" fmla="*/ 708 h 928"/>
                <a:gd name="T62" fmla="*/ 796 w 1125"/>
                <a:gd name="T63" fmla="*/ 708 h 928"/>
                <a:gd name="T64" fmla="*/ 796 w 1125"/>
                <a:gd name="T65" fmla="*/ 637 h 928"/>
                <a:gd name="T66" fmla="*/ 506 w 1125"/>
                <a:gd name="T67" fmla="*/ 637 h 928"/>
                <a:gd name="T68" fmla="*/ 506 w 1125"/>
                <a:gd name="T69" fmla="*/ 708 h 928"/>
                <a:gd name="T70" fmla="*/ 160 w 1125"/>
                <a:gd name="T71" fmla="*/ 197 h 928"/>
                <a:gd name="T72" fmla="*/ 160 w 1125"/>
                <a:gd name="T73" fmla="*/ 339 h 928"/>
                <a:gd name="T74" fmla="*/ 796 w 1125"/>
                <a:gd name="T75" fmla="*/ 339 h 928"/>
                <a:gd name="T76" fmla="*/ 796 w 1125"/>
                <a:gd name="T77" fmla="*/ 197 h 928"/>
                <a:gd name="T78" fmla="*/ 160 w 1125"/>
                <a:gd name="T79" fmla="*/ 197 h 928"/>
                <a:gd name="T80" fmla="*/ 160 w 1125"/>
                <a:gd name="T81" fmla="*/ 708 h 928"/>
                <a:gd name="T82" fmla="*/ 428 w 1125"/>
                <a:gd name="T83" fmla="*/ 708 h 928"/>
                <a:gd name="T84" fmla="*/ 428 w 1125"/>
                <a:gd name="T85" fmla="*/ 453 h 928"/>
                <a:gd name="T86" fmla="*/ 160 w 1125"/>
                <a:gd name="T87" fmla="*/ 453 h 928"/>
                <a:gd name="T88" fmla="*/ 160 w 1125"/>
                <a:gd name="T89" fmla="*/ 708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25" h="928">
                  <a:moveTo>
                    <a:pt x="1085" y="112"/>
                  </a:moveTo>
                  <a:lnTo>
                    <a:pt x="957" y="112"/>
                  </a:lnTo>
                  <a:lnTo>
                    <a:pt x="957" y="40"/>
                  </a:lnTo>
                  <a:cubicBezTo>
                    <a:pt x="957" y="19"/>
                    <a:pt x="938" y="0"/>
                    <a:pt x="916" y="0"/>
                  </a:cubicBezTo>
                  <a:lnTo>
                    <a:pt x="38" y="0"/>
                  </a:lnTo>
                  <a:cubicBezTo>
                    <a:pt x="17" y="0"/>
                    <a:pt x="0" y="19"/>
                    <a:pt x="0" y="40"/>
                  </a:cubicBezTo>
                  <a:lnTo>
                    <a:pt x="0" y="804"/>
                  </a:lnTo>
                  <a:cubicBezTo>
                    <a:pt x="0" y="872"/>
                    <a:pt x="56" y="928"/>
                    <a:pt x="123" y="928"/>
                  </a:cubicBezTo>
                  <a:lnTo>
                    <a:pt x="1001" y="928"/>
                  </a:lnTo>
                  <a:cubicBezTo>
                    <a:pt x="1068" y="927"/>
                    <a:pt x="1125" y="873"/>
                    <a:pt x="1125" y="804"/>
                  </a:cubicBezTo>
                  <a:lnTo>
                    <a:pt x="1125" y="150"/>
                  </a:lnTo>
                  <a:cubicBezTo>
                    <a:pt x="1125" y="129"/>
                    <a:pt x="1107" y="112"/>
                    <a:pt x="1085" y="112"/>
                  </a:cubicBezTo>
                  <a:close/>
                  <a:moveTo>
                    <a:pt x="123" y="846"/>
                  </a:moveTo>
                  <a:cubicBezTo>
                    <a:pt x="100" y="846"/>
                    <a:pt x="81" y="828"/>
                    <a:pt x="81" y="804"/>
                  </a:cubicBezTo>
                  <a:lnTo>
                    <a:pt x="81" y="81"/>
                  </a:lnTo>
                  <a:lnTo>
                    <a:pt x="877" y="81"/>
                  </a:lnTo>
                  <a:lnTo>
                    <a:pt x="877" y="804"/>
                  </a:lnTo>
                  <a:cubicBezTo>
                    <a:pt x="877" y="818"/>
                    <a:pt x="880" y="833"/>
                    <a:pt x="885" y="846"/>
                  </a:cubicBezTo>
                  <a:lnTo>
                    <a:pt x="123" y="846"/>
                  </a:lnTo>
                  <a:close/>
                  <a:moveTo>
                    <a:pt x="1043" y="804"/>
                  </a:moveTo>
                  <a:cubicBezTo>
                    <a:pt x="1043" y="828"/>
                    <a:pt x="1025" y="847"/>
                    <a:pt x="1000" y="847"/>
                  </a:cubicBezTo>
                  <a:cubicBezTo>
                    <a:pt x="976" y="847"/>
                    <a:pt x="956" y="828"/>
                    <a:pt x="956" y="804"/>
                  </a:cubicBezTo>
                  <a:lnTo>
                    <a:pt x="956" y="192"/>
                  </a:lnTo>
                  <a:lnTo>
                    <a:pt x="1043" y="192"/>
                  </a:lnTo>
                  <a:lnTo>
                    <a:pt x="1043" y="804"/>
                  </a:lnTo>
                  <a:close/>
                  <a:moveTo>
                    <a:pt x="506" y="523"/>
                  </a:moveTo>
                  <a:lnTo>
                    <a:pt x="796" y="523"/>
                  </a:lnTo>
                  <a:lnTo>
                    <a:pt x="796" y="452"/>
                  </a:lnTo>
                  <a:lnTo>
                    <a:pt x="506" y="452"/>
                  </a:lnTo>
                  <a:lnTo>
                    <a:pt x="506" y="523"/>
                  </a:lnTo>
                  <a:close/>
                  <a:moveTo>
                    <a:pt x="506" y="708"/>
                  </a:moveTo>
                  <a:lnTo>
                    <a:pt x="796" y="708"/>
                  </a:lnTo>
                  <a:lnTo>
                    <a:pt x="796" y="637"/>
                  </a:lnTo>
                  <a:lnTo>
                    <a:pt x="506" y="637"/>
                  </a:lnTo>
                  <a:lnTo>
                    <a:pt x="506" y="708"/>
                  </a:lnTo>
                  <a:close/>
                  <a:moveTo>
                    <a:pt x="160" y="197"/>
                  </a:moveTo>
                  <a:lnTo>
                    <a:pt x="160" y="339"/>
                  </a:lnTo>
                  <a:lnTo>
                    <a:pt x="796" y="339"/>
                  </a:lnTo>
                  <a:lnTo>
                    <a:pt x="796" y="197"/>
                  </a:lnTo>
                  <a:lnTo>
                    <a:pt x="160" y="197"/>
                  </a:lnTo>
                  <a:close/>
                  <a:moveTo>
                    <a:pt x="160" y="708"/>
                  </a:moveTo>
                  <a:lnTo>
                    <a:pt x="428" y="708"/>
                  </a:lnTo>
                  <a:lnTo>
                    <a:pt x="428" y="453"/>
                  </a:lnTo>
                  <a:lnTo>
                    <a:pt x="160" y="453"/>
                  </a:lnTo>
                  <a:lnTo>
                    <a:pt x="160" y="708"/>
                  </a:lnTo>
                  <a:close/>
                </a:path>
              </a:pathLst>
            </a:custGeom>
            <a:solidFill>
              <a:srgbClr val="009DE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  <p:grpSp>
          <p:nvGrpSpPr>
            <p:cNvPr id="17" name="Plus" descr="{&quot;Key&quot;:&quot;POWER_USER_SHAPE_ICON&quot;,&quot;Value&quot;:&quot;POWER_USER_SHAPE_ICON_STYLE_1&quot;}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 rot="18741693">
              <a:off x="3364414" y="3686357"/>
              <a:ext cx="1949579" cy="1955327"/>
              <a:chOff x="50" y="50"/>
              <a:chExt cx="339" cy="340"/>
            </a:xfrm>
            <a:solidFill>
              <a:srgbClr val="FF6600">
                <a:alpha val="76000"/>
              </a:srgbClr>
            </a:solidFill>
          </p:grpSpPr>
          <p:sp>
            <p:nvSpPr>
              <p:cNvPr id="18" name="Plus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35" y="135"/>
                <a:ext cx="169" cy="170"/>
              </a:xfrm>
              <a:custGeom>
                <a:avLst/>
                <a:gdLst>
                  <a:gd name="T0" fmla="*/ 50 w 100"/>
                  <a:gd name="T1" fmla="*/ 100 h 100"/>
                  <a:gd name="T2" fmla="*/ 63 w 100"/>
                  <a:gd name="T3" fmla="*/ 88 h 100"/>
                  <a:gd name="T4" fmla="*/ 63 w 100"/>
                  <a:gd name="T5" fmla="*/ 63 h 100"/>
                  <a:gd name="T6" fmla="*/ 88 w 100"/>
                  <a:gd name="T7" fmla="*/ 63 h 100"/>
                  <a:gd name="T8" fmla="*/ 100 w 100"/>
                  <a:gd name="T9" fmla="*/ 50 h 100"/>
                  <a:gd name="T10" fmla="*/ 88 w 100"/>
                  <a:gd name="T11" fmla="*/ 38 h 100"/>
                  <a:gd name="T12" fmla="*/ 63 w 100"/>
                  <a:gd name="T13" fmla="*/ 38 h 100"/>
                  <a:gd name="T14" fmla="*/ 63 w 100"/>
                  <a:gd name="T15" fmla="*/ 13 h 100"/>
                  <a:gd name="T16" fmla="*/ 50 w 100"/>
                  <a:gd name="T17" fmla="*/ 0 h 100"/>
                  <a:gd name="T18" fmla="*/ 38 w 100"/>
                  <a:gd name="T19" fmla="*/ 13 h 100"/>
                  <a:gd name="T20" fmla="*/ 38 w 100"/>
                  <a:gd name="T21" fmla="*/ 38 h 100"/>
                  <a:gd name="T22" fmla="*/ 13 w 100"/>
                  <a:gd name="T23" fmla="*/ 38 h 100"/>
                  <a:gd name="T24" fmla="*/ 0 w 100"/>
                  <a:gd name="T25" fmla="*/ 50 h 100"/>
                  <a:gd name="T26" fmla="*/ 13 w 100"/>
                  <a:gd name="T27" fmla="*/ 63 h 100"/>
                  <a:gd name="T28" fmla="*/ 38 w 100"/>
                  <a:gd name="T29" fmla="*/ 63 h 100"/>
                  <a:gd name="T30" fmla="*/ 38 w 100"/>
                  <a:gd name="T31" fmla="*/ 88 h 100"/>
                  <a:gd name="T32" fmla="*/ 50 w 100"/>
                  <a:gd name="T33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0" h="100">
                    <a:moveTo>
                      <a:pt x="50" y="100"/>
                    </a:moveTo>
                    <a:cubicBezTo>
                      <a:pt x="57" y="100"/>
                      <a:pt x="63" y="94"/>
                      <a:pt x="63" y="88"/>
                    </a:cubicBezTo>
                    <a:lnTo>
                      <a:pt x="63" y="63"/>
                    </a:lnTo>
                    <a:lnTo>
                      <a:pt x="88" y="63"/>
                    </a:lnTo>
                    <a:cubicBezTo>
                      <a:pt x="94" y="63"/>
                      <a:pt x="100" y="57"/>
                      <a:pt x="100" y="50"/>
                    </a:cubicBezTo>
                    <a:cubicBezTo>
                      <a:pt x="100" y="43"/>
                      <a:pt x="94" y="38"/>
                      <a:pt x="88" y="38"/>
                    </a:cubicBezTo>
                    <a:lnTo>
                      <a:pt x="63" y="38"/>
                    </a:lnTo>
                    <a:lnTo>
                      <a:pt x="63" y="13"/>
                    </a:lnTo>
                    <a:cubicBezTo>
                      <a:pt x="63" y="6"/>
                      <a:pt x="57" y="0"/>
                      <a:pt x="50" y="0"/>
                    </a:cubicBezTo>
                    <a:cubicBezTo>
                      <a:pt x="43" y="0"/>
                      <a:pt x="38" y="6"/>
                      <a:pt x="38" y="13"/>
                    </a:cubicBezTo>
                    <a:lnTo>
                      <a:pt x="38" y="38"/>
                    </a:lnTo>
                    <a:lnTo>
                      <a:pt x="13" y="38"/>
                    </a:lnTo>
                    <a:cubicBezTo>
                      <a:pt x="6" y="38"/>
                      <a:pt x="0" y="43"/>
                      <a:pt x="0" y="50"/>
                    </a:cubicBezTo>
                    <a:cubicBezTo>
                      <a:pt x="0" y="57"/>
                      <a:pt x="6" y="63"/>
                      <a:pt x="13" y="63"/>
                    </a:cubicBezTo>
                    <a:lnTo>
                      <a:pt x="38" y="63"/>
                    </a:lnTo>
                    <a:lnTo>
                      <a:pt x="38" y="88"/>
                    </a:lnTo>
                    <a:cubicBezTo>
                      <a:pt x="38" y="94"/>
                      <a:pt x="43" y="100"/>
                      <a:pt x="50" y="10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orbel" panose="020B0503020204020204" pitchFamily="34" charset="0"/>
                </a:endParaRPr>
              </a:p>
            </p:txBody>
          </p:sp>
          <p:sp>
            <p:nvSpPr>
              <p:cNvPr id="19" name="Plus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50" y="50"/>
                <a:ext cx="339" cy="340"/>
              </a:xfrm>
              <a:custGeom>
                <a:avLst/>
                <a:gdLst>
                  <a:gd name="T0" fmla="*/ 100 w 200"/>
                  <a:gd name="T1" fmla="*/ 0 h 200"/>
                  <a:gd name="T2" fmla="*/ 0 w 200"/>
                  <a:gd name="T3" fmla="*/ 100 h 200"/>
                  <a:gd name="T4" fmla="*/ 100 w 200"/>
                  <a:gd name="T5" fmla="*/ 200 h 200"/>
                  <a:gd name="T6" fmla="*/ 151 w 200"/>
                  <a:gd name="T7" fmla="*/ 186 h 200"/>
                  <a:gd name="T8" fmla="*/ 156 w 200"/>
                  <a:gd name="T9" fmla="*/ 169 h 200"/>
                  <a:gd name="T10" fmla="*/ 139 w 200"/>
                  <a:gd name="T11" fmla="*/ 164 h 200"/>
                  <a:gd name="T12" fmla="*/ 100 w 200"/>
                  <a:gd name="T13" fmla="*/ 175 h 200"/>
                  <a:gd name="T14" fmla="*/ 25 w 200"/>
                  <a:gd name="T15" fmla="*/ 100 h 200"/>
                  <a:gd name="T16" fmla="*/ 100 w 200"/>
                  <a:gd name="T17" fmla="*/ 25 h 200"/>
                  <a:gd name="T18" fmla="*/ 175 w 200"/>
                  <a:gd name="T19" fmla="*/ 100 h 200"/>
                  <a:gd name="T20" fmla="*/ 164 w 200"/>
                  <a:gd name="T21" fmla="*/ 139 h 200"/>
                  <a:gd name="T22" fmla="*/ 169 w 200"/>
                  <a:gd name="T23" fmla="*/ 156 h 200"/>
                  <a:gd name="T24" fmla="*/ 186 w 200"/>
                  <a:gd name="T25" fmla="*/ 151 h 200"/>
                  <a:gd name="T26" fmla="*/ 200 w 200"/>
                  <a:gd name="T27" fmla="*/ 100 h 200"/>
                  <a:gd name="T28" fmla="*/ 100 w 200"/>
                  <a:gd name="T29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0" h="200">
                    <a:moveTo>
                      <a:pt x="100" y="0"/>
                    </a:moveTo>
                    <a:cubicBezTo>
                      <a:pt x="45" y="0"/>
                      <a:pt x="0" y="45"/>
                      <a:pt x="0" y="100"/>
                    </a:cubicBezTo>
                    <a:cubicBezTo>
                      <a:pt x="0" y="155"/>
                      <a:pt x="45" y="200"/>
                      <a:pt x="100" y="200"/>
                    </a:cubicBezTo>
                    <a:cubicBezTo>
                      <a:pt x="118" y="200"/>
                      <a:pt x="136" y="195"/>
                      <a:pt x="151" y="186"/>
                    </a:cubicBezTo>
                    <a:cubicBezTo>
                      <a:pt x="157" y="182"/>
                      <a:pt x="159" y="174"/>
                      <a:pt x="156" y="169"/>
                    </a:cubicBezTo>
                    <a:cubicBezTo>
                      <a:pt x="152" y="163"/>
                      <a:pt x="144" y="161"/>
                      <a:pt x="139" y="164"/>
                    </a:cubicBezTo>
                    <a:cubicBezTo>
                      <a:pt x="127" y="171"/>
                      <a:pt x="114" y="175"/>
                      <a:pt x="100" y="175"/>
                    </a:cubicBezTo>
                    <a:cubicBezTo>
                      <a:pt x="59" y="175"/>
                      <a:pt x="25" y="141"/>
                      <a:pt x="25" y="100"/>
                    </a:cubicBezTo>
                    <a:cubicBezTo>
                      <a:pt x="25" y="59"/>
                      <a:pt x="59" y="25"/>
                      <a:pt x="100" y="25"/>
                    </a:cubicBezTo>
                    <a:cubicBezTo>
                      <a:pt x="141" y="25"/>
                      <a:pt x="175" y="59"/>
                      <a:pt x="175" y="100"/>
                    </a:cubicBezTo>
                    <a:cubicBezTo>
                      <a:pt x="175" y="114"/>
                      <a:pt x="171" y="127"/>
                      <a:pt x="164" y="139"/>
                    </a:cubicBezTo>
                    <a:cubicBezTo>
                      <a:pt x="161" y="144"/>
                      <a:pt x="163" y="152"/>
                      <a:pt x="169" y="156"/>
                    </a:cubicBezTo>
                    <a:cubicBezTo>
                      <a:pt x="174" y="159"/>
                      <a:pt x="182" y="157"/>
                      <a:pt x="186" y="151"/>
                    </a:cubicBezTo>
                    <a:cubicBezTo>
                      <a:pt x="195" y="136"/>
                      <a:pt x="200" y="118"/>
                      <a:pt x="200" y="100"/>
                    </a:cubicBezTo>
                    <a:cubicBezTo>
                      <a:pt x="200" y="45"/>
                      <a:pt x="155" y="0"/>
                      <a:pt x="100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fr-FR" dirty="0">
                  <a:solidFill>
                    <a:prstClr val="black"/>
                  </a:solidFill>
                  <a:latin typeface="Corbel" panose="020B0503020204020204" pitchFamily="34" charset="0"/>
                </a:endParaRPr>
              </a:p>
            </p:txBody>
          </p:sp>
        </p:grpSp>
      </p:grpSp>
      <p:sp>
        <p:nvSpPr>
          <p:cNvPr id="23" name="Espace réservé du pied de page 22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2-05-03</a:t>
            </a:r>
            <a:endParaRPr lang="fr-FR" dirty="0"/>
          </a:p>
        </p:txBody>
      </p:sp>
      <p:sp>
        <p:nvSpPr>
          <p:cNvPr id="24" name="Titre 5"/>
          <p:cNvSpPr>
            <a:spLocks noGrp="1"/>
          </p:cNvSpPr>
          <p:nvPr>
            <p:ph type="title"/>
          </p:nvPr>
        </p:nvSpPr>
        <p:spPr>
          <a:xfrm>
            <a:off x="448432" y="154963"/>
            <a:ext cx="10515600" cy="1325563"/>
          </a:xfrm>
        </p:spPr>
        <p:txBody>
          <a:bodyPr/>
          <a:lstStyle/>
          <a:p>
            <a:r>
              <a:rPr lang="fr-FR" dirty="0" smtClean="0"/>
              <a:t>Typologie : exemple de 2 types d’outils</a:t>
            </a:r>
            <a:endParaRPr lang="fr-FR" dirty="0"/>
          </a:p>
        </p:txBody>
      </p:sp>
      <p:sp>
        <p:nvSpPr>
          <p:cNvPr id="25" name="ZoneTexte 24"/>
          <p:cNvSpPr txBox="1"/>
          <p:nvPr/>
        </p:nvSpPr>
        <p:spPr>
          <a:xfrm>
            <a:off x="881499" y="5650266"/>
            <a:ext cx="102900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 smtClean="0">
                <a:latin typeface="Corbel" panose="020B0503020204020204" pitchFamily="34" charset="0"/>
              </a:rPr>
              <a:t>Modules 1.2 </a:t>
            </a:r>
            <a:r>
              <a:rPr lang="fr-FR" sz="2000" dirty="0">
                <a:latin typeface="Corbel" panose="020B0503020204020204" pitchFamily="34" charset="0"/>
              </a:rPr>
              <a:t>: Trucs et astuces de </a:t>
            </a:r>
            <a:r>
              <a:rPr lang="fr-FR" sz="2000" dirty="0" err="1" smtClean="0">
                <a:latin typeface="Corbel" panose="020B0503020204020204" pitchFamily="34" charset="0"/>
              </a:rPr>
              <a:t>PubMed</a:t>
            </a:r>
            <a:r>
              <a:rPr lang="fr-FR" sz="2000" dirty="0" smtClean="0">
                <a:latin typeface="Corbel" panose="020B0503020204020204" pitchFamily="34" charset="0"/>
              </a:rPr>
              <a:t> le 24 mai </a:t>
            </a:r>
            <a:r>
              <a:rPr lang="fr-FR" sz="2000" dirty="0">
                <a:latin typeface="Corbel" panose="020B0503020204020204" pitchFamily="34" charset="0"/>
              </a:rPr>
              <a:t>11h30-12h15 et 1.3 : Usage des moteurs de recherche pour la recherche </a:t>
            </a:r>
            <a:r>
              <a:rPr lang="fr-FR" sz="2000" dirty="0" smtClean="0">
                <a:latin typeface="Corbel" panose="020B0503020204020204" pitchFamily="34" charset="0"/>
              </a:rPr>
              <a:t>documentaire le 7 juin 11h30-12h15</a:t>
            </a:r>
            <a:endParaRPr lang="fr-FR" sz="2000" dirty="0">
              <a:latin typeface="Corbel" panose="020B0503020204020204" pitchFamily="34" charset="0"/>
            </a:endParaRPr>
          </a:p>
        </p:txBody>
      </p:sp>
      <p:grpSp>
        <p:nvGrpSpPr>
          <p:cNvPr id="26" name="Arrow19" descr="{&quot;Key&quot;:&quot;POWER_USER_SHAPE_ICON&quot;,&quot;Value&quot;:&quot;POWER_USER_SHAPE_ICON_STYLE_1&quot;}"/>
          <p:cNvGrpSpPr>
            <a:grpSpLocks noChangeAspect="1"/>
          </p:cNvGrpSpPr>
          <p:nvPr/>
        </p:nvGrpSpPr>
        <p:grpSpPr>
          <a:xfrm>
            <a:off x="285487" y="5828318"/>
            <a:ext cx="404457" cy="351782"/>
            <a:chOff x="1412032" y="2732632"/>
            <a:chExt cx="1016496" cy="884112"/>
          </a:xfrm>
          <a:solidFill>
            <a:schemeClr val="bg1">
              <a:lumMod val="50000"/>
            </a:schemeClr>
          </a:solidFill>
        </p:grpSpPr>
        <p:sp>
          <p:nvSpPr>
            <p:cNvPr id="27" name="Chevron 26"/>
            <p:cNvSpPr/>
            <p:nvPr/>
          </p:nvSpPr>
          <p:spPr>
            <a:xfrm>
              <a:off x="1412032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8" name="Chevron 27"/>
            <p:cNvSpPr/>
            <p:nvPr/>
          </p:nvSpPr>
          <p:spPr>
            <a:xfrm>
              <a:off x="1852464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80752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re 5"/>
          <p:cNvSpPr>
            <a:spLocks noGrp="1"/>
          </p:cNvSpPr>
          <p:nvPr>
            <p:ph type="title"/>
          </p:nvPr>
        </p:nvSpPr>
        <p:spPr>
          <a:xfrm>
            <a:off x="427080" y="11642"/>
            <a:ext cx="10515600" cy="1325563"/>
          </a:xfrm>
        </p:spPr>
        <p:txBody>
          <a:bodyPr/>
          <a:lstStyle/>
          <a:p>
            <a:r>
              <a:rPr lang="fr-FR" dirty="0" smtClean="0"/>
              <a:t>Critères de choix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4942" y="1118062"/>
            <a:ext cx="7429381" cy="4351338"/>
          </a:xfrm>
        </p:spPr>
        <p:txBody>
          <a:bodyPr>
            <a:noAutofit/>
          </a:bodyPr>
          <a:lstStyle/>
          <a:p>
            <a:r>
              <a:rPr lang="fr-FR" sz="2400" dirty="0" smtClean="0">
                <a:solidFill>
                  <a:srgbClr val="009DE0"/>
                </a:solidFill>
              </a:rPr>
              <a:t>Couverture </a:t>
            </a:r>
            <a:endParaRPr lang="fr-FR" sz="2400" dirty="0">
              <a:solidFill>
                <a:srgbClr val="009DE0"/>
              </a:solidFill>
            </a:endParaRPr>
          </a:p>
          <a:p>
            <a:pPr lvl="1"/>
            <a:r>
              <a:rPr lang="fr-FR" dirty="0" smtClean="0"/>
              <a:t>Disciplinaire</a:t>
            </a:r>
          </a:p>
          <a:p>
            <a:pPr lvl="1"/>
            <a:r>
              <a:rPr lang="fr-FR" dirty="0" smtClean="0"/>
              <a:t>Temporelle</a:t>
            </a:r>
          </a:p>
          <a:p>
            <a:pPr lvl="1"/>
            <a:r>
              <a:rPr lang="fr-FR" dirty="0" smtClean="0"/>
              <a:t>Géographique</a:t>
            </a:r>
          </a:p>
          <a:p>
            <a:pPr lvl="1"/>
            <a:r>
              <a:rPr lang="fr-FR" dirty="0" smtClean="0"/>
              <a:t>Types de documents indexés</a:t>
            </a:r>
          </a:p>
          <a:p>
            <a:pPr>
              <a:spcBef>
                <a:spcPts val="600"/>
              </a:spcBef>
            </a:pPr>
            <a:r>
              <a:rPr lang="fr-FR" sz="2400" dirty="0" smtClean="0">
                <a:solidFill>
                  <a:srgbClr val="009DE0"/>
                </a:solidFill>
              </a:rPr>
              <a:t>Fonctionnalités</a:t>
            </a:r>
            <a:endParaRPr lang="fr-FR" sz="2400" dirty="0">
              <a:solidFill>
                <a:srgbClr val="009DE0"/>
              </a:solidFill>
            </a:endParaRPr>
          </a:p>
          <a:p>
            <a:pPr lvl="1"/>
            <a:r>
              <a:rPr lang="fr-FR" dirty="0" smtClean="0"/>
              <a:t>Recherche avancée : nombre de champs et filtres, syntaxe et nombre de caractères pris en charge</a:t>
            </a:r>
          </a:p>
          <a:p>
            <a:pPr lvl="1"/>
            <a:r>
              <a:rPr lang="fr-FR" dirty="0" smtClean="0"/>
              <a:t>Historique de recherche</a:t>
            </a:r>
          </a:p>
          <a:p>
            <a:pPr lvl="1"/>
            <a:r>
              <a:rPr lang="fr-FR" dirty="0" smtClean="0"/>
              <a:t>Export </a:t>
            </a:r>
          </a:p>
          <a:p>
            <a:pPr lvl="1"/>
            <a:r>
              <a:rPr lang="fr-FR" dirty="0" smtClean="0"/>
              <a:t>Alertes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half" idx="2"/>
          </p:nvPr>
        </p:nvSpPr>
        <p:spPr>
          <a:xfrm>
            <a:off x="8597892" y="532477"/>
            <a:ext cx="3263097" cy="5647982"/>
          </a:xfr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marL="0" indent="0">
              <a:buNone/>
            </a:pPr>
            <a:r>
              <a:rPr lang="fr-FR" dirty="0" smtClean="0"/>
              <a:t>Exemples</a:t>
            </a:r>
          </a:p>
          <a:p>
            <a:pPr marL="266700" lvl="1" indent="190500">
              <a:buFont typeface="Corbel" panose="020B0503020204020204" pitchFamily="34" charset="0"/>
              <a:buChar char="›"/>
            </a:pPr>
            <a:r>
              <a:rPr lang="fr-FR" sz="2800" dirty="0" err="1" smtClean="0"/>
              <a:t>PubMed</a:t>
            </a:r>
            <a:r>
              <a:rPr lang="fr-FR" sz="2800" dirty="0" smtClean="0"/>
              <a:t> vs. </a:t>
            </a:r>
            <a:r>
              <a:rPr lang="fr-FR" sz="2800" dirty="0" err="1" smtClean="0"/>
              <a:t>Scopus</a:t>
            </a:r>
            <a:r>
              <a:rPr lang="fr-FR" sz="2800" dirty="0" smtClean="0"/>
              <a:t>?</a:t>
            </a:r>
          </a:p>
          <a:p>
            <a:pPr marL="266700" lvl="1" indent="190500">
              <a:buFont typeface="Corbel" panose="020B0503020204020204" pitchFamily="34" charset="0"/>
              <a:buChar char="›"/>
            </a:pPr>
            <a:r>
              <a:rPr lang="fr-FR" sz="2800" dirty="0" err="1" smtClean="0"/>
              <a:t>PubMed</a:t>
            </a:r>
            <a:r>
              <a:rPr lang="fr-FR" sz="2800" dirty="0" smtClean="0"/>
              <a:t> vs. EMBASE?</a:t>
            </a:r>
          </a:p>
          <a:p>
            <a:pPr marL="266700" lvl="1" indent="190500">
              <a:buFont typeface="Corbel" panose="020B0503020204020204" pitchFamily="34" charset="0"/>
              <a:buChar char="›"/>
            </a:pPr>
            <a:r>
              <a:rPr lang="fr-FR" sz="2800" dirty="0" smtClean="0"/>
              <a:t> </a:t>
            </a:r>
            <a:r>
              <a:rPr lang="fr-FR" sz="2800" dirty="0" err="1" smtClean="0"/>
              <a:t>PsycINFO</a:t>
            </a:r>
            <a:r>
              <a:rPr lang="fr-FR" sz="2800" dirty="0" smtClean="0"/>
              <a:t> vs. Cairn?</a:t>
            </a:r>
          </a:p>
          <a:p>
            <a:pPr marL="266700" lvl="1" indent="190500">
              <a:buFont typeface="Corbel" panose="020B0503020204020204" pitchFamily="34" charset="0"/>
              <a:buChar char="›"/>
            </a:pPr>
            <a:r>
              <a:rPr lang="fr-FR" sz="2800" dirty="0" smtClean="0"/>
              <a:t>Web of Science (accès </a:t>
            </a:r>
            <a:r>
              <a:rPr lang="fr-FR" sz="2800" dirty="0" err="1" smtClean="0"/>
              <a:t>univ</a:t>
            </a:r>
            <a:r>
              <a:rPr lang="fr-FR" sz="2800" dirty="0" smtClean="0"/>
              <a:t>. Bordeaux) vs. Web of Science (accès Inserm)?</a:t>
            </a:r>
          </a:p>
          <a:p>
            <a:pPr marL="266700" lvl="1" indent="190500">
              <a:buFont typeface="Corbel" panose="020B0503020204020204" pitchFamily="34" charset="0"/>
              <a:buChar char="›"/>
            </a:pPr>
            <a:r>
              <a:rPr lang="fr-FR" sz="2800" dirty="0" smtClean="0"/>
              <a:t>Autres?</a:t>
            </a:r>
          </a:p>
          <a:p>
            <a:pPr lvl="1">
              <a:buFont typeface="Corbel" panose="020B0503020204020204" pitchFamily="34" charset="0"/>
              <a:buChar char="›"/>
            </a:pPr>
            <a:endParaRPr lang="fr-FR" sz="2800" dirty="0" smtClean="0"/>
          </a:p>
          <a:p>
            <a:pPr marL="457200" lvl="1" indent="0">
              <a:buNone/>
            </a:pPr>
            <a:endParaRPr lang="fr-FR" sz="2800" dirty="0"/>
          </a:p>
        </p:txBody>
      </p:sp>
      <p:sp>
        <p:nvSpPr>
          <p:cNvPr id="23" name="Espace réservé du pied de page 2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2-05-03</a:t>
            </a:r>
            <a:endParaRPr lang="fr-FR" dirty="0"/>
          </a:p>
        </p:txBody>
      </p:sp>
      <p:sp>
        <p:nvSpPr>
          <p:cNvPr id="25" name="ZoneTexte 24"/>
          <p:cNvSpPr txBox="1"/>
          <p:nvPr/>
        </p:nvSpPr>
        <p:spPr>
          <a:xfrm>
            <a:off x="709755" y="5618821"/>
            <a:ext cx="789236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 smtClean="0">
                <a:latin typeface="Corbel" panose="020B0503020204020204" pitchFamily="34" charset="0"/>
              </a:rPr>
              <a:t>Plus de critères :  </a:t>
            </a:r>
            <a:r>
              <a:rPr lang="en-US" sz="1400" dirty="0" err="1">
                <a:latin typeface="Corbel" panose="020B0503020204020204" pitchFamily="34" charset="0"/>
              </a:rPr>
              <a:t>Gusenbauer</a:t>
            </a:r>
            <a:r>
              <a:rPr lang="en-US" sz="1400" dirty="0">
                <a:latin typeface="Corbel" panose="020B0503020204020204" pitchFamily="34" charset="0"/>
              </a:rPr>
              <a:t>, M., &amp; </a:t>
            </a:r>
            <a:r>
              <a:rPr lang="en-US" sz="1400" dirty="0" err="1">
                <a:latin typeface="Corbel" panose="020B0503020204020204" pitchFamily="34" charset="0"/>
              </a:rPr>
              <a:t>Haddaway</a:t>
            </a:r>
            <a:r>
              <a:rPr lang="en-US" sz="1400" dirty="0">
                <a:latin typeface="Corbel" panose="020B0503020204020204" pitchFamily="34" charset="0"/>
              </a:rPr>
              <a:t>, N. (2020). Which Academic Search Systems are Suitable for Systematic Reviews or Meta-Analyses? Evaluating Retrieval Qualities of Google Scholar, PubMed and 26 other Resources. </a:t>
            </a:r>
            <a:r>
              <a:rPr lang="en-US" sz="1400" i="1" dirty="0">
                <a:latin typeface="Corbel" panose="020B0503020204020204" pitchFamily="34" charset="0"/>
              </a:rPr>
              <a:t>Research Synthesis Methods</a:t>
            </a:r>
            <a:r>
              <a:rPr lang="en-US" sz="1400" dirty="0">
                <a:latin typeface="Corbel" panose="020B0503020204020204" pitchFamily="34" charset="0"/>
              </a:rPr>
              <a:t>, </a:t>
            </a:r>
            <a:r>
              <a:rPr lang="en-US" sz="1400" i="1" dirty="0">
                <a:latin typeface="Corbel" panose="020B0503020204020204" pitchFamily="34" charset="0"/>
              </a:rPr>
              <a:t>11</a:t>
            </a:r>
            <a:r>
              <a:rPr lang="en-US" sz="1400" dirty="0">
                <a:latin typeface="Corbel" panose="020B0503020204020204" pitchFamily="34" charset="0"/>
              </a:rPr>
              <a:t>(2), 181‑217. </a:t>
            </a:r>
            <a:r>
              <a:rPr lang="en-US" sz="1400" dirty="0">
                <a:latin typeface="Corbel" panose="020B0503020204020204" pitchFamily="34" charset="0"/>
                <a:hlinkClick r:id="rId3"/>
              </a:rPr>
              <a:t>https://doi.org/10.1002/jrsm.1378</a:t>
            </a:r>
            <a:endParaRPr lang="en-US" sz="1400" dirty="0">
              <a:latin typeface="Corbel" panose="020B0503020204020204" pitchFamily="34" charset="0"/>
            </a:endParaRPr>
          </a:p>
          <a:p>
            <a:endParaRPr lang="fr-FR" sz="1400" dirty="0">
              <a:latin typeface="Corbel" panose="020B0503020204020204" pitchFamily="34" charset="0"/>
            </a:endParaRPr>
          </a:p>
        </p:txBody>
      </p:sp>
      <p:grpSp>
        <p:nvGrpSpPr>
          <p:cNvPr id="26" name="Arrow19" descr="{&quot;Key&quot;:&quot;POWER_USER_SHAPE_ICON&quot;,&quot;Value&quot;:&quot;POWER_USER_SHAPE_ICON_STYLE_1&quot;}"/>
          <p:cNvGrpSpPr>
            <a:grpSpLocks noChangeAspect="1"/>
          </p:cNvGrpSpPr>
          <p:nvPr/>
        </p:nvGrpSpPr>
        <p:grpSpPr>
          <a:xfrm>
            <a:off x="309527" y="5744093"/>
            <a:ext cx="404457" cy="351782"/>
            <a:chOff x="1412032" y="2732632"/>
            <a:chExt cx="1016496" cy="884112"/>
          </a:xfrm>
          <a:solidFill>
            <a:schemeClr val="bg1">
              <a:lumMod val="50000"/>
            </a:schemeClr>
          </a:solidFill>
        </p:grpSpPr>
        <p:sp>
          <p:nvSpPr>
            <p:cNvPr id="27" name="Chevron 26"/>
            <p:cNvSpPr/>
            <p:nvPr/>
          </p:nvSpPr>
          <p:spPr>
            <a:xfrm>
              <a:off x="1412032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8" name="Chevron 27"/>
            <p:cNvSpPr/>
            <p:nvPr/>
          </p:nvSpPr>
          <p:spPr>
            <a:xfrm>
              <a:off x="1852464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88060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Bien interroger les </a:t>
            </a:r>
            <a:r>
              <a:rPr lang="fr-FR" dirty="0" smtClean="0"/>
              <a:t>outils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41325" indent="-441325"/>
            <a:r>
              <a:rPr lang="fr-FR" sz="3200" dirty="0" smtClean="0"/>
              <a:t>En </a:t>
            </a:r>
            <a:r>
              <a:rPr lang="fr-FR" sz="3200" dirty="0"/>
              <a:t>dépit d’un travail important d’analyse et de traduction de votre sujet, vous pouvez être déçu des résultats obtenus par votre recherche, qu’elle occasionne trop de bruit ou trop de silence.</a:t>
            </a:r>
          </a:p>
          <a:p>
            <a:pPr marL="441325" indent="-441325"/>
            <a:r>
              <a:rPr lang="fr-FR" sz="3200" dirty="0"/>
              <a:t>Utilisez-vous au mieux les outils de recherche et leurs fonctionnalités?</a:t>
            </a: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2-05-03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64171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5976" y="9779"/>
            <a:ext cx="10515600" cy="1325563"/>
          </a:xfrm>
        </p:spPr>
        <p:txBody>
          <a:bodyPr/>
          <a:lstStyle/>
          <a:p>
            <a:r>
              <a:rPr lang="fr-FR" dirty="0" smtClean="0"/>
              <a:t>Recherche documentaire et efficacité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18</a:t>
            </a:fld>
            <a:endParaRPr lang="fr-FR"/>
          </a:p>
        </p:txBody>
      </p:sp>
      <p:graphicFrame>
        <p:nvGraphicFramePr>
          <p:cNvPr id="7" name="Diagramme 6"/>
          <p:cNvGraphicFramePr/>
          <p:nvPr>
            <p:extLst>
              <p:ext uri="{D42A27DB-BD31-4B8C-83A1-F6EECF244321}">
                <p14:modId xmlns:p14="http://schemas.microsoft.com/office/powerpoint/2010/main" val="1270524892"/>
              </p:ext>
            </p:extLst>
          </p:nvPr>
        </p:nvGraphicFramePr>
        <p:xfrm>
          <a:off x="1215380" y="1899462"/>
          <a:ext cx="841122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ZoneTexte 8"/>
          <p:cNvSpPr txBox="1"/>
          <p:nvPr/>
        </p:nvSpPr>
        <p:spPr>
          <a:xfrm>
            <a:off x="345976" y="1491356"/>
            <a:ext cx="216024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latin typeface="Corbel" panose="020B0503020204020204" pitchFamily="34" charset="0"/>
              </a:rPr>
              <a:t>Silence</a:t>
            </a:r>
            <a:r>
              <a:rPr lang="fr-FR" sz="4800" dirty="0">
                <a:latin typeface="Corbel" panose="020B0503020204020204" pitchFamily="34" charset="0"/>
              </a:rPr>
              <a:t> 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9315450" y="1728230"/>
            <a:ext cx="17281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latin typeface="Corbel" panose="020B0503020204020204" pitchFamily="34" charset="0"/>
              </a:rPr>
              <a:t>Bruit</a:t>
            </a:r>
            <a:endParaRPr lang="fr-FR" sz="4800" dirty="0">
              <a:latin typeface="Corbel" panose="020B0503020204020204" pitchFamily="34" charset="0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4367138" y="1143455"/>
            <a:ext cx="42434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>
                <a:latin typeface="Corbel" panose="020B0503020204020204" pitchFamily="34" charset="0"/>
              </a:rPr>
              <a:t>Info exploitables</a:t>
            </a:r>
            <a:endParaRPr lang="fr-FR" dirty="0">
              <a:latin typeface="Corbel" panose="020B0503020204020204" pitchFamily="34" charset="0"/>
            </a:endParaRPr>
          </a:p>
        </p:txBody>
      </p:sp>
      <p:cxnSp>
        <p:nvCxnSpPr>
          <p:cNvPr id="12" name="Connecteur droit avec flèche 11"/>
          <p:cNvCxnSpPr/>
          <p:nvPr/>
        </p:nvCxnSpPr>
        <p:spPr>
          <a:xfrm>
            <a:off x="5803900" y="1728230"/>
            <a:ext cx="3150" cy="1921172"/>
          </a:xfrm>
          <a:prstGeom prst="straightConnector1">
            <a:avLst/>
          </a:prstGeom>
          <a:ln w="762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Arrow" descr="{&quot;Key&quot;:&quot;POWER_USER_SHAPE_ICON&quot;,&quot;Value&quot;:&quot;POWER_USER_SHAPE_ICON_STYLE_1&quot;}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6200000">
            <a:off x="5435565" y="5063415"/>
            <a:ext cx="971180" cy="1376931"/>
          </a:xfrm>
          <a:custGeom>
            <a:avLst/>
            <a:gdLst>
              <a:gd name="T0" fmla="*/ 377 w 644"/>
              <a:gd name="T1" fmla="*/ 37 h 676"/>
              <a:gd name="T2" fmla="*/ 268 w 644"/>
              <a:gd name="T3" fmla="*/ 37 h 676"/>
              <a:gd name="T4" fmla="*/ 30 w 644"/>
              <a:gd name="T5" fmla="*/ 340 h 676"/>
              <a:gd name="T6" fmla="*/ 58 w 644"/>
              <a:gd name="T7" fmla="*/ 409 h 676"/>
              <a:gd name="T8" fmla="*/ 189 w 644"/>
              <a:gd name="T9" fmla="*/ 409 h 676"/>
              <a:gd name="T10" fmla="*/ 189 w 644"/>
              <a:gd name="T11" fmla="*/ 609 h 676"/>
              <a:gd name="T12" fmla="*/ 256 w 644"/>
              <a:gd name="T13" fmla="*/ 676 h 676"/>
              <a:gd name="T14" fmla="*/ 389 w 644"/>
              <a:gd name="T15" fmla="*/ 676 h 676"/>
              <a:gd name="T16" fmla="*/ 456 w 644"/>
              <a:gd name="T17" fmla="*/ 609 h 676"/>
              <a:gd name="T18" fmla="*/ 456 w 644"/>
              <a:gd name="T19" fmla="*/ 409 h 676"/>
              <a:gd name="T20" fmla="*/ 586 w 644"/>
              <a:gd name="T21" fmla="*/ 409 h 676"/>
              <a:gd name="T22" fmla="*/ 614 w 644"/>
              <a:gd name="T23" fmla="*/ 340 h 676"/>
              <a:gd name="T24" fmla="*/ 377 w 644"/>
              <a:gd name="T25" fmla="*/ 3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4" h="676">
                <a:moveTo>
                  <a:pt x="377" y="37"/>
                </a:moveTo>
                <a:cubicBezTo>
                  <a:pt x="347" y="0"/>
                  <a:pt x="298" y="0"/>
                  <a:pt x="268" y="37"/>
                </a:cubicBezTo>
                <a:lnTo>
                  <a:pt x="30" y="340"/>
                </a:lnTo>
                <a:cubicBezTo>
                  <a:pt x="0" y="378"/>
                  <a:pt x="13" y="409"/>
                  <a:pt x="58" y="409"/>
                </a:cubicBezTo>
                <a:lnTo>
                  <a:pt x="189" y="409"/>
                </a:lnTo>
                <a:lnTo>
                  <a:pt x="189" y="609"/>
                </a:lnTo>
                <a:cubicBezTo>
                  <a:pt x="189" y="646"/>
                  <a:pt x="219" y="676"/>
                  <a:pt x="256" y="676"/>
                </a:cubicBezTo>
                <a:lnTo>
                  <a:pt x="389" y="676"/>
                </a:lnTo>
                <a:cubicBezTo>
                  <a:pt x="426" y="676"/>
                  <a:pt x="456" y="646"/>
                  <a:pt x="456" y="609"/>
                </a:cubicBezTo>
                <a:lnTo>
                  <a:pt x="456" y="409"/>
                </a:lnTo>
                <a:lnTo>
                  <a:pt x="586" y="409"/>
                </a:lnTo>
                <a:cubicBezTo>
                  <a:pt x="632" y="409"/>
                  <a:pt x="644" y="378"/>
                  <a:pt x="614" y="340"/>
                </a:cubicBezTo>
                <a:lnTo>
                  <a:pt x="377" y="37"/>
                </a:lnTo>
                <a:close/>
              </a:path>
            </a:pathLst>
          </a:custGeom>
          <a:solidFill>
            <a:srgbClr val="FF6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60128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me 9"/>
          <p:cNvGraphicFramePr/>
          <p:nvPr>
            <p:extLst>
              <p:ext uri="{D42A27DB-BD31-4B8C-83A1-F6EECF244321}">
                <p14:modId xmlns:p14="http://schemas.microsoft.com/office/powerpoint/2010/main" val="2189497246"/>
              </p:ext>
            </p:extLst>
          </p:nvPr>
        </p:nvGraphicFramePr>
        <p:xfrm>
          <a:off x="465992" y="1572682"/>
          <a:ext cx="8006272" cy="48382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ZoneTexte 12"/>
          <p:cNvSpPr txBox="1"/>
          <p:nvPr/>
        </p:nvSpPr>
        <p:spPr>
          <a:xfrm>
            <a:off x="7032104" y="1682858"/>
            <a:ext cx="31683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>
                <a:solidFill>
                  <a:srgbClr val="009DE0"/>
                </a:solidFill>
                <a:latin typeface="Corbel" panose="020B0503020204020204" pitchFamily="34" charset="0"/>
              </a:rPr>
              <a:t>Trop de résultats</a:t>
            </a:r>
            <a:endParaRPr lang="fr-FR" dirty="0">
              <a:solidFill>
                <a:srgbClr val="009DE0"/>
              </a:solidFill>
              <a:latin typeface="Corbel" panose="020B0503020204020204" pitchFamily="34" charset="0"/>
            </a:endParaRPr>
          </a:p>
        </p:txBody>
      </p:sp>
      <p:cxnSp>
        <p:nvCxnSpPr>
          <p:cNvPr id="18" name="Connecteur droit avec flèche 17"/>
          <p:cNvCxnSpPr/>
          <p:nvPr/>
        </p:nvCxnSpPr>
        <p:spPr>
          <a:xfrm>
            <a:off x="8319900" y="2536914"/>
            <a:ext cx="0" cy="576063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ZoneTexte 18"/>
          <p:cNvSpPr txBox="1"/>
          <p:nvPr/>
        </p:nvSpPr>
        <p:spPr>
          <a:xfrm>
            <a:off x="7172780" y="3382258"/>
            <a:ext cx="421911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361950">
              <a:buFont typeface="Arial" pitchFamily="34" charset="0"/>
              <a:buChar char="•"/>
            </a:pPr>
            <a:r>
              <a:rPr lang="fr-FR" sz="2800" dirty="0">
                <a:latin typeface="Corbel" panose="020B0503020204020204" pitchFamily="34" charset="0"/>
              </a:rPr>
              <a:t>Utiliser des termes rares, discriminants et spécifiques, le moins polysémiques possibles</a:t>
            </a:r>
          </a:p>
          <a:p>
            <a:pPr indent="361950">
              <a:buFont typeface="Arial" pitchFamily="34" charset="0"/>
              <a:buChar char="•"/>
            </a:pPr>
            <a:r>
              <a:rPr lang="fr-FR" sz="2800" dirty="0">
                <a:latin typeface="Corbel" panose="020B0503020204020204" pitchFamily="34" charset="0"/>
              </a:rPr>
              <a:t>Préciser des critères d’interrogation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4294967295"/>
          </p:nvPr>
        </p:nvSpPr>
        <p:spPr>
          <a:xfrm>
            <a:off x="3935760" y="6483350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>
                <a:latin typeface="Corbel" panose="020B0503020204020204" pitchFamily="34" charset="0"/>
              </a:rPr>
              <a:t>F. Flamerie - Recherche doc - 2022-05-03</a:t>
            </a:r>
            <a:endParaRPr lang="fr-FR" dirty="0">
              <a:latin typeface="Corbel" panose="020B0503020204020204" pitchFamily="34" charset="0"/>
            </a:endParaRPr>
          </a:p>
        </p:txBody>
      </p:sp>
      <p:sp>
        <p:nvSpPr>
          <p:cNvPr id="14" name="Titre 1"/>
          <p:cNvSpPr>
            <a:spLocks noGrp="1"/>
          </p:cNvSpPr>
          <p:nvPr>
            <p:ph type="title"/>
          </p:nvPr>
        </p:nvSpPr>
        <p:spPr>
          <a:xfrm>
            <a:off x="324694" y="222654"/>
            <a:ext cx="10696231" cy="1325563"/>
          </a:xfrm>
        </p:spPr>
        <p:txBody>
          <a:bodyPr/>
          <a:lstStyle/>
          <a:p>
            <a:r>
              <a:rPr lang="fr-FR" dirty="0" smtClean="0"/>
              <a:t>Recherche documentaire et efficacité : le bruit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1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73862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263586"/>
            <a:ext cx="10515600" cy="1325563"/>
          </a:xfrm>
        </p:spPr>
        <p:txBody>
          <a:bodyPr/>
          <a:lstStyle/>
          <a:p>
            <a:r>
              <a:rPr lang="fr-FR" dirty="0" smtClean="0"/>
              <a:t>Programm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838200" y="1406268"/>
            <a:ext cx="10515600" cy="4608451"/>
          </a:xfrm>
        </p:spPr>
        <p:txBody>
          <a:bodyPr>
            <a:normAutofit fontScale="85000" lnSpcReduction="20000"/>
          </a:bodyPr>
          <a:lstStyle/>
          <a:p>
            <a:pPr marL="0" indent="0">
              <a:lnSpc>
                <a:spcPct val="120000"/>
              </a:lnSpc>
              <a:spcAft>
                <a:spcPts val="1200"/>
              </a:spcAft>
              <a:buNone/>
            </a:pPr>
            <a:r>
              <a:rPr lang="fr-FR" sz="2000" i="1" dirty="0" smtClean="0"/>
              <a:t>Comment </a:t>
            </a:r>
            <a:r>
              <a:rPr lang="fr-FR" sz="2000" i="1" dirty="0"/>
              <a:t>organiser simplement ses recherches bibliographiques pour en optimiser les résultats </a:t>
            </a:r>
            <a:r>
              <a:rPr lang="fr-FR" sz="2000" i="1" dirty="0" smtClean="0"/>
              <a:t>? Comment </a:t>
            </a:r>
            <a:r>
              <a:rPr lang="fr-FR" sz="2000" i="1" dirty="0"/>
              <a:t>connaître l’offre documentaire souscrite par les institutions et y accéder rapidement </a:t>
            </a:r>
            <a:r>
              <a:rPr lang="fr-FR" sz="2000" i="1" dirty="0" smtClean="0"/>
              <a:t>? Cette </a:t>
            </a:r>
            <a:r>
              <a:rPr lang="fr-FR" sz="2000" i="1" dirty="0"/>
              <a:t>session propose un rappel méthodologique concernant la recherche bibliographique et la typologie des outils de recherche. </a:t>
            </a:r>
            <a:endParaRPr lang="fr-FR" sz="3600" i="1" dirty="0" smtClean="0"/>
          </a:p>
          <a:p>
            <a:pPr>
              <a:lnSpc>
                <a:spcPct val="120000"/>
              </a:lnSpc>
            </a:pPr>
            <a:r>
              <a:rPr lang="fr-FR" sz="3300" dirty="0" smtClean="0"/>
              <a:t>Méthode </a:t>
            </a:r>
            <a:r>
              <a:rPr lang="fr-FR" sz="3300" dirty="0"/>
              <a:t>de la recherche documentaire : du sujet en langage naturel à l’équation de recherche</a:t>
            </a:r>
          </a:p>
          <a:p>
            <a:pPr>
              <a:lnSpc>
                <a:spcPct val="120000"/>
              </a:lnSpc>
            </a:pPr>
            <a:r>
              <a:rPr lang="fr-FR" sz="3300" dirty="0"/>
              <a:t>Typologie des outils de recherche documentaire (bases de données, sites d’éditeurs, etc.) et critères de </a:t>
            </a:r>
            <a:r>
              <a:rPr lang="fr-FR" sz="3300" dirty="0" smtClean="0"/>
              <a:t>choix</a:t>
            </a:r>
          </a:p>
          <a:p>
            <a:pPr>
              <a:lnSpc>
                <a:spcPct val="120000"/>
              </a:lnSpc>
            </a:pPr>
            <a:r>
              <a:rPr lang="fr-FR" sz="3300" dirty="0" smtClean="0"/>
              <a:t>Paramétrage </a:t>
            </a:r>
            <a:r>
              <a:rPr lang="fr-FR" sz="3300" dirty="0"/>
              <a:t>des accès Inserm et université de Bordeaux dans un navigateur Internet, Google </a:t>
            </a:r>
            <a:r>
              <a:rPr lang="fr-FR" sz="3300" dirty="0" err="1"/>
              <a:t>Scholar</a:t>
            </a:r>
            <a:r>
              <a:rPr lang="fr-FR" sz="3300" dirty="0"/>
              <a:t>, un logiciel de gestion </a:t>
            </a:r>
            <a:r>
              <a:rPr lang="fr-FR" sz="3300" dirty="0" smtClean="0"/>
              <a:t>bibliographique, et alternatives légales à ces accès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47771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me 9"/>
          <p:cNvGraphicFramePr/>
          <p:nvPr>
            <p:extLst>
              <p:ext uri="{D42A27DB-BD31-4B8C-83A1-F6EECF244321}">
                <p14:modId xmlns:p14="http://schemas.microsoft.com/office/powerpoint/2010/main" val="1748299648"/>
              </p:ext>
            </p:extLst>
          </p:nvPr>
        </p:nvGraphicFramePr>
        <p:xfrm>
          <a:off x="600807" y="1332690"/>
          <a:ext cx="7152456" cy="50001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0" name="ZoneTexte 19"/>
          <p:cNvSpPr txBox="1"/>
          <p:nvPr/>
        </p:nvSpPr>
        <p:spPr>
          <a:xfrm>
            <a:off x="6668835" y="3558748"/>
            <a:ext cx="484908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361950">
              <a:buFont typeface="Arial" pitchFamily="34" charset="0"/>
              <a:buChar char="•"/>
            </a:pPr>
            <a:r>
              <a:rPr lang="fr-FR" sz="2800" dirty="0">
                <a:latin typeface="Corbel" panose="020B0503020204020204" pitchFamily="34" charset="0"/>
              </a:rPr>
              <a:t>Utiliser </a:t>
            </a:r>
            <a:r>
              <a:rPr lang="fr-FR" sz="2800" dirty="0" smtClean="0">
                <a:latin typeface="Corbel" panose="020B0503020204020204" pitchFamily="34" charset="0"/>
              </a:rPr>
              <a:t>des </a:t>
            </a:r>
            <a:r>
              <a:rPr lang="fr-FR" sz="2800" dirty="0">
                <a:latin typeface="Corbel" panose="020B0503020204020204" pitchFamily="34" charset="0"/>
              </a:rPr>
              <a:t>termes synonymes, + </a:t>
            </a:r>
            <a:r>
              <a:rPr lang="fr-FR" sz="2800" dirty="0" smtClean="0">
                <a:latin typeface="Corbel" panose="020B0503020204020204" pitchFamily="34" charset="0"/>
              </a:rPr>
              <a:t>génériques </a:t>
            </a:r>
          </a:p>
          <a:p>
            <a:pPr indent="361950">
              <a:buFont typeface="Arial" pitchFamily="34" charset="0"/>
              <a:buChar char="•"/>
            </a:pPr>
            <a:r>
              <a:rPr lang="fr-FR" sz="2800" dirty="0" smtClean="0">
                <a:latin typeface="Corbel" panose="020B0503020204020204" pitchFamily="34" charset="0"/>
              </a:rPr>
              <a:t>Supprimer des concepts</a:t>
            </a:r>
            <a:endParaRPr lang="fr-FR" sz="2800" dirty="0">
              <a:latin typeface="Corbel" panose="020B0503020204020204" pitchFamily="34" charset="0"/>
            </a:endParaRPr>
          </a:p>
          <a:p>
            <a:pPr indent="361950">
              <a:buFont typeface="Arial" pitchFamily="34" charset="0"/>
              <a:buChar char="•"/>
            </a:pPr>
            <a:r>
              <a:rPr lang="fr-FR" sz="2800" dirty="0">
                <a:latin typeface="Corbel" panose="020B0503020204020204" pitchFamily="34" charset="0"/>
              </a:rPr>
              <a:t>Parler le même langage que le catalogue ou la base de données utilisé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6668835" y="1911686"/>
            <a:ext cx="471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>
                <a:solidFill>
                  <a:srgbClr val="009DE0"/>
                </a:solidFill>
                <a:latin typeface="Corbel" panose="020B0503020204020204" pitchFamily="34" charset="0"/>
              </a:rPr>
              <a:t>Trop peu de résultats</a:t>
            </a:r>
            <a:endParaRPr lang="fr-FR" dirty="0">
              <a:solidFill>
                <a:srgbClr val="009DE0"/>
              </a:solidFill>
              <a:latin typeface="Corbel" panose="020B0503020204020204" pitchFamily="34" charset="0"/>
            </a:endParaRPr>
          </a:p>
        </p:txBody>
      </p:sp>
      <p:cxnSp>
        <p:nvCxnSpPr>
          <p:cNvPr id="18" name="Connecteur droit avec flèche 17"/>
          <p:cNvCxnSpPr/>
          <p:nvPr/>
        </p:nvCxnSpPr>
        <p:spPr>
          <a:xfrm flipH="1">
            <a:off x="7992410" y="2757200"/>
            <a:ext cx="1588" cy="648072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pied de page 2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>
                <a:latin typeface="Corbel" panose="020B0503020204020204" pitchFamily="34" charset="0"/>
              </a:rPr>
              <a:t>F. Flamerie - Recherche doc - 2022-05-03</a:t>
            </a:r>
            <a:endParaRPr lang="fr-FR" dirty="0">
              <a:latin typeface="Corbel" panose="020B0503020204020204" pitchFamily="34" charset="0"/>
            </a:endParaRPr>
          </a:p>
        </p:txBody>
      </p: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208081" y="237712"/>
            <a:ext cx="11145719" cy="1325563"/>
          </a:xfrm>
        </p:spPr>
        <p:txBody>
          <a:bodyPr/>
          <a:lstStyle/>
          <a:p>
            <a:r>
              <a:rPr lang="fr-FR" dirty="0" smtClean="0"/>
              <a:t>Recherche documentaire et efficacité : le silence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2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56544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8"/>
          <p:cNvSpPr>
            <a:spLocks noGrp="1"/>
          </p:cNvSpPr>
          <p:nvPr>
            <p:ph idx="1"/>
          </p:nvPr>
        </p:nvSpPr>
        <p:spPr>
          <a:xfrm>
            <a:off x="456235" y="1536258"/>
            <a:ext cx="10967977" cy="4820092"/>
          </a:xfrm>
        </p:spPr>
        <p:txBody>
          <a:bodyPr>
            <a:noAutofit/>
          </a:bodyPr>
          <a:lstStyle/>
          <a:p>
            <a:pPr marL="342900" indent="-342900" eaLnBrk="0" hangingPunct="0">
              <a:spcBef>
                <a:spcPct val="20000"/>
              </a:spcBef>
            </a:pPr>
            <a:r>
              <a:rPr lang="fr-FR" sz="2400" dirty="0"/>
              <a:t>Vérifiez la langue d’interrogation.</a:t>
            </a:r>
          </a:p>
          <a:p>
            <a:pPr marL="342900" indent="-342900" eaLnBrk="0" hangingPunct="0">
              <a:spcBef>
                <a:spcPct val="20000"/>
              </a:spcBef>
            </a:pPr>
            <a:r>
              <a:rPr lang="fr-FR" sz="2400" dirty="0"/>
              <a:t>Privilégiez le </a:t>
            </a:r>
            <a:r>
              <a:rPr lang="fr-FR" sz="2400" dirty="0">
                <a:solidFill>
                  <a:srgbClr val="009DE0"/>
                </a:solidFill>
              </a:rPr>
              <a:t>formulaire de recherche </a:t>
            </a:r>
            <a:r>
              <a:rPr lang="fr-FR" sz="2400" dirty="0"/>
              <a:t>pour choisir les </a:t>
            </a:r>
            <a:r>
              <a:rPr lang="fr-FR" sz="2400" dirty="0">
                <a:solidFill>
                  <a:srgbClr val="009DE0"/>
                </a:solidFill>
              </a:rPr>
              <a:t>champs interrogés </a:t>
            </a:r>
            <a:r>
              <a:rPr lang="fr-FR" sz="2400" dirty="0"/>
              <a:t>plutôt que la recherche simple.</a:t>
            </a:r>
          </a:p>
          <a:p>
            <a:pPr marL="342900" indent="-342900" eaLnBrk="0" hangingPunct="0">
              <a:spcBef>
                <a:spcPct val="20000"/>
              </a:spcBef>
            </a:pPr>
            <a:r>
              <a:rPr lang="fr-FR" sz="2400" dirty="0"/>
              <a:t>Vérifiez la </a:t>
            </a:r>
            <a:r>
              <a:rPr lang="fr-FR" sz="2400" dirty="0">
                <a:solidFill>
                  <a:srgbClr val="009DE0"/>
                </a:solidFill>
              </a:rPr>
              <a:t>syntaxe</a:t>
            </a:r>
            <a:r>
              <a:rPr lang="fr-FR" sz="2400" dirty="0"/>
              <a:t> prise en charge par l’outil -&gt; si possible optimisez vos mots-clés avec la </a:t>
            </a:r>
            <a:r>
              <a:rPr lang="fr-FR" sz="2400" dirty="0">
                <a:solidFill>
                  <a:srgbClr val="009DE0"/>
                </a:solidFill>
              </a:rPr>
              <a:t>troncature.</a:t>
            </a:r>
          </a:p>
          <a:p>
            <a:pPr marL="342900" indent="-342900" eaLnBrk="0" hangingPunct="0">
              <a:spcBef>
                <a:spcPct val="20000"/>
              </a:spcBef>
            </a:pPr>
            <a:r>
              <a:rPr lang="fr-FR" sz="2400" dirty="0"/>
              <a:t>Modifiez progressivement votre équation (1 élément à la fois) pour mesurer les effets de vos modifications.</a:t>
            </a:r>
          </a:p>
          <a:p>
            <a:pPr marL="342900" indent="-342900" eaLnBrk="0" hangingPunct="0">
              <a:spcBef>
                <a:spcPct val="20000"/>
              </a:spcBef>
            </a:pPr>
            <a:r>
              <a:rPr lang="fr-FR" sz="2400" dirty="0"/>
              <a:t>Utilisez les </a:t>
            </a:r>
            <a:r>
              <a:rPr lang="fr-FR" sz="2400" dirty="0">
                <a:solidFill>
                  <a:srgbClr val="009DE0"/>
                </a:solidFill>
              </a:rPr>
              <a:t>filtres</a:t>
            </a:r>
            <a:r>
              <a:rPr lang="fr-FR" sz="2400" dirty="0"/>
              <a:t> des bases de données pour analyser et affiner vos listes de résultats de recherche.</a:t>
            </a:r>
          </a:p>
          <a:p>
            <a:pPr marL="342900" indent="-342900" eaLnBrk="0" hangingPunct="0">
              <a:spcBef>
                <a:spcPct val="20000"/>
              </a:spcBef>
            </a:pPr>
            <a:r>
              <a:rPr lang="fr-FR" sz="2400" dirty="0"/>
              <a:t>Il vaut mieux avoir trop de </a:t>
            </a:r>
            <a:r>
              <a:rPr lang="fr-FR" sz="2400" dirty="0">
                <a:solidFill>
                  <a:srgbClr val="009DE0"/>
                </a:solidFill>
              </a:rPr>
              <a:t>bruit</a:t>
            </a:r>
            <a:r>
              <a:rPr lang="fr-FR" sz="2400" dirty="0"/>
              <a:t> : si vous ne pouvez pas voir ce qui est absent, vous pouvez en revanche à partir </a:t>
            </a:r>
            <a:r>
              <a:rPr lang="fr-FR" sz="2400" dirty="0" smtClean="0"/>
              <a:t>d</a:t>
            </a:r>
            <a:r>
              <a:rPr lang="fr-FR" sz="2400" dirty="0"/>
              <a:t>e</a:t>
            </a:r>
            <a:r>
              <a:rPr lang="fr-FR" sz="2400" dirty="0" smtClean="0"/>
              <a:t> résultats </a:t>
            </a:r>
            <a:r>
              <a:rPr lang="fr-FR" sz="2400" dirty="0"/>
              <a:t>non </a:t>
            </a:r>
            <a:r>
              <a:rPr lang="fr-FR" sz="2400" dirty="0" smtClean="0"/>
              <a:t>pertinents </a:t>
            </a:r>
            <a:r>
              <a:rPr lang="fr-FR" sz="2400" dirty="0"/>
              <a:t>comprendre comment modifier votre recherche pour que </a:t>
            </a:r>
            <a:r>
              <a:rPr lang="fr-FR" sz="2400" dirty="0" smtClean="0"/>
              <a:t>ces résultats n’apparaissent plus… si cela ne supprime pas également des résultats pertinents.</a:t>
            </a:r>
            <a:endParaRPr lang="fr-FR" sz="2400" dirty="0"/>
          </a:p>
          <a:p>
            <a:endParaRPr lang="fr-FR" sz="2400" dirty="0"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2-05-03</a:t>
            </a:r>
            <a:endParaRPr lang="fr-FR" dirty="0"/>
          </a:p>
        </p:txBody>
      </p:sp>
      <p:sp>
        <p:nvSpPr>
          <p:cNvPr id="10" name="Titre 4"/>
          <p:cNvSpPr>
            <a:spLocks noGrp="1"/>
          </p:cNvSpPr>
          <p:nvPr>
            <p:ph type="title"/>
          </p:nvPr>
        </p:nvSpPr>
        <p:spPr>
          <a:xfrm>
            <a:off x="456236" y="210695"/>
            <a:ext cx="10515600" cy="1325563"/>
          </a:xfrm>
        </p:spPr>
        <p:txBody>
          <a:bodyPr/>
          <a:lstStyle/>
          <a:p>
            <a:r>
              <a:rPr lang="fr-FR" dirty="0"/>
              <a:t>Bien interroger les </a:t>
            </a:r>
            <a:r>
              <a:rPr lang="fr-FR" dirty="0" smtClean="0"/>
              <a:t>outils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2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6208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2-05-03</a:t>
            </a:r>
            <a:endParaRPr lang="fr-FR" dirty="0"/>
          </a:p>
        </p:txBody>
      </p:sp>
      <p:sp>
        <p:nvSpPr>
          <p:cNvPr id="10" name="Titre 4"/>
          <p:cNvSpPr>
            <a:spLocks noGrp="1"/>
          </p:cNvSpPr>
          <p:nvPr>
            <p:ph type="title"/>
          </p:nvPr>
        </p:nvSpPr>
        <p:spPr>
          <a:xfrm>
            <a:off x="517984" y="-9226"/>
            <a:ext cx="10515600" cy="1325563"/>
          </a:xfrm>
        </p:spPr>
        <p:txBody>
          <a:bodyPr/>
          <a:lstStyle/>
          <a:p>
            <a:r>
              <a:rPr lang="fr-FR" dirty="0"/>
              <a:t>Bien interroger les </a:t>
            </a:r>
            <a:r>
              <a:rPr lang="fr-FR" dirty="0" smtClean="0"/>
              <a:t>outils</a:t>
            </a:r>
            <a:endParaRPr lang="fr-FR" dirty="0"/>
          </a:p>
        </p:txBody>
      </p:sp>
      <p:sp>
        <p:nvSpPr>
          <p:cNvPr id="6" name="Espace réservé du pied de page 1"/>
          <p:cNvSpPr txBox="1">
            <a:spLocks/>
          </p:cNvSpPr>
          <p:nvPr/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FR" smtClean="0">
                <a:latin typeface="Corbel" panose="020B0503020204020204" pitchFamily="34" charset="0"/>
              </a:rPr>
              <a:t>Recherche biblio - mars 2021</a:t>
            </a:r>
            <a:endParaRPr lang="fr-FR" dirty="0">
              <a:latin typeface="Corbel" panose="020B0503020204020204" pitchFamily="34" charset="0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5952" y="1285308"/>
            <a:ext cx="8424545" cy="5356274"/>
          </a:xfrm>
          <a:prstGeom prst="rect">
            <a:avLst/>
          </a:prstGeom>
        </p:spPr>
      </p:pic>
      <p:cxnSp>
        <p:nvCxnSpPr>
          <p:cNvPr id="8" name="Connecteur droit avec flèche 7"/>
          <p:cNvCxnSpPr/>
          <p:nvPr/>
        </p:nvCxnSpPr>
        <p:spPr>
          <a:xfrm>
            <a:off x="5159896" y="3573016"/>
            <a:ext cx="360040" cy="0"/>
          </a:xfrm>
          <a:prstGeom prst="straightConnector1">
            <a:avLst/>
          </a:prstGeom>
          <a:ln w="41275">
            <a:solidFill>
              <a:srgbClr val="FF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/>
          <p:cNvCxnSpPr/>
          <p:nvPr/>
        </p:nvCxnSpPr>
        <p:spPr>
          <a:xfrm>
            <a:off x="6096000" y="3573016"/>
            <a:ext cx="360040" cy="0"/>
          </a:xfrm>
          <a:prstGeom prst="straightConnector1">
            <a:avLst/>
          </a:prstGeom>
          <a:ln w="41275">
            <a:solidFill>
              <a:srgbClr val="FF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avec flèche 11"/>
          <p:cNvCxnSpPr/>
          <p:nvPr/>
        </p:nvCxnSpPr>
        <p:spPr>
          <a:xfrm flipH="1">
            <a:off x="1883728" y="4149080"/>
            <a:ext cx="441" cy="360040"/>
          </a:xfrm>
          <a:prstGeom prst="straightConnector1">
            <a:avLst/>
          </a:prstGeom>
          <a:ln w="41275">
            <a:solidFill>
              <a:srgbClr val="FF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/>
          <p:cNvSpPr txBox="1"/>
          <p:nvPr/>
        </p:nvSpPr>
        <p:spPr>
          <a:xfrm>
            <a:off x="5519935" y="3284985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OR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1590679" y="4653137"/>
            <a:ext cx="9049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AND</a:t>
            </a:r>
          </a:p>
        </p:txBody>
      </p:sp>
      <p:cxnSp>
        <p:nvCxnSpPr>
          <p:cNvPr id="15" name="Connecteur droit avec flèche 14"/>
          <p:cNvCxnSpPr/>
          <p:nvPr/>
        </p:nvCxnSpPr>
        <p:spPr>
          <a:xfrm flipH="1">
            <a:off x="1884800" y="5256897"/>
            <a:ext cx="441" cy="360040"/>
          </a:xfrm>
          <a:prstGeom prst="straightConnector1">
            <a:avLst/>
          </a:prstGeom>
          <a:ln w="41275">
            <a:solidFill>
              <a:srgbClr val="FF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1649242" y="3163202"/>
            <a:ext cx="313252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dirty="0">
                <a:solidFill>
                  <a:srgbClr val="FF6600"/>
                </a:solidFill>
                <a:latin typeface="Corbel" panose="020B0503020204020204" pitchFamily="34" charset="0"/>
              </a:rPr>
              <a:t>1 ligne = 1 concept, 1 notion</a:t>
            </a:r>
          </a:p>
        </p:txBody>
      </p:sp>
      <p:sp>
        <p:nvSpPr>
          <p:cNvPr id="17" name="ZoneTexte 16"/>
          <p:cNvSpPr txBox="1"/>
          <p:nvPr/>
        </p:nvSpPr>
        <p:spPr>
          <a:xfrm>
            <a:off x="4988652" y="3765220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(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4979876" y="4653137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(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4979876" y="5559624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(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7089910" y="3746650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6369830" y="4653385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7255768" y="5559623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FF6600"/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23" name="Rectangle 22"/>
          <p:cNvSpPr/>
          <p:nvPr/>
        </p:nvSpPr>
        <p:spPr>
          <a:xfrm>
            <a:off x="6600057" y="3101524"/>
            <a:ext cx="408958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dirty="0">
                <a:solidFill>
                  <a:srgbClr val="FF6600"/>
                </a:solidFill>
                <a:latin typeface="Corbel" panose="020B0503020204020204" pitchFamily="34" charset="0"/>
              </a:rPr>
              <a:t>Le système génèrera les parenthèse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2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1695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2-05-03</a:t>
            </a:r>
            <a:endParaRPr lang="fr-FR" dirty="0"/>
          </a:p>
        </p:txBody>
      </p:sp>
      <p:sp>
        <p:nvSpPr>
          <p:cNvPr id="4" name="Forme libre 3"/>
          <p:cNvSpPr/>
          <p:nvPr/>
        </p:nvSpPr>
        <p:spPr>
          <a:xfrm>
            <a:off x="509286" y="1408784"/>
            <a:ext cx="11227443" cy="3331377"/>
          </a:xfrm>
          <a:custGeom>
            <a:avLst/>
            <a:gdLst>
              <a:gd name="connsiteX0" fmla="*/ 0 w 8380501"/>
              <a:gd name="connsiteY0" fmla="*/ 0 h 2690659"/>
              <a:gd name="connsiteX1" fmla="*/ 8380501 w 8380501"/>
              <a:gd name="connsiteY1" fmla="*/ 0 h 2690659"/>
              <a:gd name="connsiteX2" fmla="*/ 8380501 w 8380501"/>
              <a:gd name="connsiteY2" fmla="*/ 2690659 h 2690659"/>
              <a:gd name="connsiteX3" fmla="*/ 0 w 8380501"/>
              <a:gd name="connsiteY3" fmla="*/ 2690659 h 2690659"/>
              <a:gd name="connsiteX4" fmla="*/ 0 w 8380501"/>
              <a:gd name="connsiteY4" fmla="*/ 0 h 2690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80501" h="2690659">
                <a:moveTo>
                  <a:pt x="0" y="0"/>
                </a:moveTo>
                <a:lnTo>
                  <a:pt x="8380501" y="0"/>
                </a:lnTo>
                <a:lnTo>
                  <a:pt x="8380501" y="2690659"/>
                </a:lnTo>
                <a:lnTo>
                  <a:pt x="0" y="269065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3">
              <a:alpha val="90000"/>
              <a:hueOff val="0"/>
              <a:satOff val="0"/>
              <a:lumOff val="0"/>
              <a:alphaOff val="0"/>
            </a:schemeClr>
          </a:fillRef>
          <a:effectRef idx="1">
            <a:schemeClr val="accent3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839700" tIns="45720" rIns="45720" bIns="45720" numCol="1" spcCol="1270" anchor="ctr" anchorCtr="0">
            <a:noAutofit/>
          </a:bodyPr>
          <a:lstStyle/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2400" b="1" dirty="0">
                <a:latin typeface="Corbel" panose="020B0503020204020204" pitchFamily="34" charset="0"/>
                <a:cs typeface="Arial" pitchFamily="34" charset="0"/>
              </a:rPr>
              <a:t>	LA TRONCATURE</a:t>
            </a:r>
          </a:p>
          <a:p>
            <a:pPr marL="809625" indent="-809625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tabLst>
                <a:tab pos="809625" algn="l"/>
              </a:tabLst>
            </a:pPr>
            <a:r>
              <a:rPr lang="fr-FR" sz="2400" dirty="0">
                <a:latin typeface="Corbel" panose="020B0503020204020204" pitchFamily="34" charset="0"/>
              </a:rPr>
              <a:t>	pour chercher sur toutes les variantes d’un </a:t>
            </a:r>
            <a:r>
              <a:rPr lang="fr-FR" sz="2400" dirty="0" smtClean="0">
                <a:latin typeface="Corbel" panose="020B0503020204020204" pitchFamily="34" charset="0"/>
              </a:rPr>
              <a:t>terme (singulier/pluriel, nom/adjectif/verbe, etc.)</a:t>
            </a:r>
            <a:endParaRPr lang="fr-FR" sz="2400" dirty="0">
              <a:latin typeface="Corbel" panose="020B0503020204020204" pitchFamily="34" charset="0"/>
            </a:endParaRPr>
          </a:p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2400" b="1" dirty="0">
                <a:latin typeface="Corbel" panose="020B0503020204020204" pitchFamily="34" charset="0"/>
                <a:sym typeface="Symbol" pitchFamily="18" charset="2"/>
              </a:rPr>
              <a:t>	</a:t>
            </a:r>
            <a:r>
              <a:rPr lang="fr-FR" sz="2400" b="1" dirty="0" err="1" smtClean="0">
                <a:latin typeface="Corbel" panose="020B0503020204020204" pitchFamily="34" charset="0"/>
                <a:sym typeface="Symbol" pitchFamily="18" charset="2"/>
              </a:rPr>
              <a:t>child</a:t>
            </a:r>
            <a:r>
              <a:rPr lang="fr-FR" sz="2400" b="1" dirty="0" smtClean="0">
                <a:latin typeface="Corbel" panose="020B0503020204020204" pitchFamily="34" charset="0"/>
              </a:rPr>
              <a:t>* </a:t>
            </a:r>
            <a:r>
              <a:rPr lang="fr-FR" sz="2400" b="1" dirty="0">
                <a:latin typeface="Corbel" panose="020B0503020204020204" pitchFamily="34" charset="0"/>
                <a:sym typeface="Wingdings" pitchFamily="2" charset="2"/>
              </a:rPr>
              <a:t> </a:t>
            </a:r>
            <a:r>
              <a:rPr lang="fr-FR" sz="2400" dirty="0" err="1" smtClean="0">
                <a:latin typeface="Corbel" panose="020B0503020204020204" pitchFamily="34" charset="0"/>
                <a:sym typeface="Wingdings" pitchFamily="2" charset="2"/>
              </a:rPr>
              <a:t>child</a:t>
            </a:r>
            <a:r>
              <a:rPr lang="fr-FR" sz="2400" dirty="0">
                <a:latin typeface="Corbel" panose="020B0503020204020204" pitchFamily="34" charset="0"/>
                <a:sym typeface="Wingdings" pitchFamily="2" charset="2"/>
              </a:rPr>
              <a:t> </a:t>
            </a:r>
            <a:r>
              <a:rPr lang="fr-FR" sz="2400" dirty="0" smtClean="0">
                <a:latin typeface="Corbel" panose="020B0503020204020204" pitchFamily="34" charset="0"/>
                <a:sym typeface="Wingdings" pitchFamily="2" charset="2"/>
              </a:rPr>
              <a:t>+ </a:t>
            </a:r>
            <a:r>
              <a:rPr lang="fr-FR" sz="2400" dirty="0" err="1" smtClean="0">
                <a:latin typeface="Corbel" panose="020B0503020204020204" pitchFamily="34" charset="0"/>
                <a:sym typeface="Wingdings" pitchFamily="2" charset="2"/>
              </a:rPr>
              <a:t>children</a:t>
            </a:r>
            <a:r>
              <a:rPr lang="fr-FR" sz="2400" dirty="0" smtClean="0">
                <a:latin typeface="Corbel" panose="020B0503020204020204" pitchFamily="34" charset="0"/>
                <a:sym typeface="Wingdings" pitchFamily="2" charset="2"/>
              </a:rPr>
              <a:t> + </a:t>
            </a:r>
            <a:r>
              <a:rPr lang="fr-FR" sz="2400" dirty="0" err="1" smtClean="0">
                <a:latin typeface="Corbel" panose="020B0503020204020204" pitchFamily="34" charset="0"/>
                <a:sym typeface="Wingdings" pitchFamily="2" charset="2"/>
              </a:rPr>
              <a:t>childhood</a:t>
            </a:r>
            <a:r>
              <a:rPr lang="fr-FR" sz="2400" dirty="0" smtClean="0">
                <a:latin typeface="Corbel" panose="020B0503020204020204" pitchFamily="34" charset="0"/>
                <a:sym typeface="Wingdings" pitchFamily="2" charset="2"/>
              </a:rPr>
              <a:t> + </a:t>
            </a:r>
            <a:r>
              <a:rPr lang="fr-FR" sz="2400" dirty="0" err="1" smtClean="0">
                <a:latin typeface="Corbel" panose="020B0503020204020204" pitchFamily="34" charset="0"/>
                <a:sym typeface="Wingdings" pitchFamily="2" charset="2"/>
              </a:rPr>
              <a:t>childish</a:t>
            </a:r>
            <a:r>
              <a:rPr lang="fr-FR" sz="2400" dirty="0" smtClean="0">
                <a:latin typeface="Corbel" panose="020B0503020204020204" pitchFamily="34" charset="0"/>
                <a:sym typeface="Wingdings" pitchFamily="2" charset="2"/>
              </a:rPr>
              <a:t>, etc.</a:t>
            </a:r>
            <a:endParaRPr lang="fr-FR" sz="2400" dirty="0">
              <a:latin typeface="Corbel" panose="020B0503020204020204" pitchFamily="34" charset="0"/>
            </a:endParaRPr>
          </a:p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2400" b="1" dirty="0">
                <a:latin typeface="Corbel" panose="020B0503020204020204" pitchFamily="34" charset="0"/>
              </a:rPr>
              <a:t>	</a:t>
            </a:r>
            <a:r>
              <a:rPr lang="fr-FR" sz="2400" b="1" dirty="0" err="1" smtClean="0">
                <a:latin typeface="Corbel" panose="020B0503020204020204" pitchFamily="34" charset="0"/>
              </a:rPr>
              <a:t>preven</a:t>
            </a:r>
            <a:r>
              <a:rPr lang="fr-FR" sz="2400" b="1" dirty="0">
                <a:latin typeface="Corbel" panose="020B0503020204020204" pitchFamily="34" charset="0"/>
              </a:rPr>
              <a:t>*</a:t>
            </a:r>
            <a:r>
              <a:rPr lang="fr-FR" sz="2400" b="1" dirty="0">
                <a:latin typeface="Corbel" panose="020B0503020204020204" pitchFamily="34" charset="0"/>
                <a:sym typeface="Wingdings" pitchFamily="2" charset="2"/>
              </a:rPr>
              <a:t> </a:t>
            </a:r>
            <a:r>
              <a:rPr lang="fr-FR" sz="2400" dirty="0" smtClean="0">
                <a:latin typeface="Corbel" panose="020B0503020204020204" pitchFamily="34" charset="0"/>
                <a:sym typeface="Wingdings" pitchFamily="2" charset="2"/>
              </a:rPr>
              <a:t>prévention(s) + </a:t>
            </a:r>
            <a:r>
              <a:rPr lang="fr-FR" sz="2400" dirty="0">
                <a:latin typeface="Corbel" panose="020B0503020204020204" pitchFamily="34" charset="0"/>
                <a:sym typeface="Wingdings" pitchFamily="2" charset="2"/>
              </a:rPr>
              <a:t>prévenir + préventif(ve)(</a:t>
            </a:r>
            <a:r>
              <a:rPr lang="fr-FR" sz="2400" dirty="0" smtClean="0">
                <a:latin typeface="Corbel" panose="020B0503020204020204" pitchFamily="34" charset="0"/>
                <a:sym typeface="Wingdings" pitchFamily="2" charset="2"/>
              </a:rPr>
              <a:t>s), etc.</a:t>
            </a:r>
            <a:endParaRPr lang="fr-FR" sz="2400" dirty="0">
              <a:latin typeface="Corbel" panose="020B0503020204020204" pitchFamily="34" charset="0"/>
              <a:sym typeface="Wingdings" pitchFamily="2" charset="2"/>
            </a:endParaRPr>
          </a:p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2400" b="1" dirty="0">
                <a:latin typeface="Corbel" panose="020B0503020204020204" pitchFamily="34" charset="0"/>
                <a:sym typeface="Wingdings" pitchFamily="2" charset="2"/>
              </a:rPr>
              <a:t> </a:t>
            </a:r>
            <a:r>
              <a:rPr lang="fr-FR" sz="2400" dirty="0">
                <a:latin typeface="Corbel" panose="020B0503020204020204" pitchFamily="34" charset="0"/>
                <a:sym typeface="Wingdings" pitchFamily="2" charset="2"/>
              </a:rPr>
              <a:t>d’autres caractères de remplacement sont parfois disponibles, pour remplacer de 0 à plusieurs caractères à l’intérieur d’un mot par exemple</a:t>
            </a:r>
            <a:endParaRPr lang="fr-FR" sz="2400" dirty="0">
              <a:latin typeface="Corbel" panose="020B0503020204020204" pitchFamily="34" charset="0"/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951" y="1543995"/>
            <a:ext cx="1169950" cy="11699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8" name="Rectangle 7"/>
          <p:cNvSpPr/>
          <p:nvPr/>
        </p:nvSpPr>
        <p:spPr>
          <a:xfrm>
            <a:off x="509286" y="322228"/>
            <a:ext cx="920959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44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en interroger les outils</a:t>
            </a:r>
            <a:endParaRPr lang="fr-FR" dirty="0">
              <a:latin typeface="Corbel" panose="020B0503020204020204" pitchFamily="34" charset="0"/>
            </a:endParaRPr>
          </a:p>
        </p:txBody>
      </p:sp>
      <p:sp>
        <p:nvSpPr>
          <p:cNvPr id="9" name="Text Box 12"/>
          <p:cNvSpPr txBox="1">
            <a:spLocks noChangeArrowheads="1"/>
          </p:cNvSpPr>
          <p:nvPr/>
        </p:nvSpPr>
        <p:spPr bwMode="auto">
          <a:xfrm>
            <a:off x="2366613" y="5198896"/>
            <a:ext cx="8149903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fr-FR" sz="2400" dirty="0" smtClean="0">
                <a:solidFill>
                  <a:srgbClr val="FF6600"/>
                </a:solidFill>
                <a:latin typeface="Corbel" panose="020B0503020204020204" pitchFamily="34" charset="0"/>
                <a:sym typeface="Wingdings 2" pitchFamily="18" charset="2"/>
              </a:rPr>
              <a:t>La troncature n’est pas prise en charge de la même façon par tous les outils de recherche.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 cstate="print"/>
          <a:srcRect r="4641" b="20923"/>
          <a:stretch>
            <a:fillRect/>
          </a:stretch>
        </p:blipFill>
        <p:spPr bwMode="auto">
          <a:xfrm>
            <a:off x="999279" y="5138921"/>
            <a:ext cx="1162058" cy="835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43255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92" name="Text Box 11"/>
          <p:cNvSpPr txBox="1">
            <a:spLocks noChangeArrowheads="1"/>
          </p:cNvSpPr>
          <p:nvPr/>
        </p:nvSpPr>
        <p:spPr bwMode="auto">
          <a:xfrm>
            <a:off x="1030449" y="261316"/>
            <a:ext cx="10525055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cumenter sa recherche</a:t>
            </a:r>
            <a:endParaRPr lang="fr-FR" sz="4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030448" y="1134126"/>
            <a:ext cx="10643392" cy="3000994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fr-FR" sz="2600" dirty="0" smtClean="0"/>
              <a:t>Un tableau est un bon moyen de documenter sa recherche documentaire, en reportant et en commentant ses équations de recherche.</a:t>
            </a:r>
          </a:p>
          <a:p>
            <a:pPr>
              <a:lnSpc>
                <a:spcPct val="100000"/>
              </a:lnSpc>
            </a:pPr>
            <a:r>
              <a:rPr lang="fr-FR" sz="2600" dirty="0" smtClean="0"/>
              <a:t> 1 tableau par base de données ou 1 tableau général, avec une colonne « Base de données »</a:t>
            </a:r>
          </a:p>
          <a:p>
            <a:pPr>
              <a:lnSpc>
                <a:spcPct val="100000"/>
              </a:lnSpc>
            </a:pPr>
            <a:r>
              <a:rPr lang="fr-FR" sz="2600" dirty="0" smtClean="0"/>
              <a:t>Modèles et exemples à télécharger : </a:t>
            </a:r>
            <a:r>
              <a:rPr lang="fr-FR" sz="2600" dirty="0" smtClean="0">
                <a:hlinkClick r:id="rId3"/>
              </a:rPr>
              <a:t>https://github.com/fflamerie/bibliolog</a:t>
            </a:r>
            <a:r>
              <a:rPr lang="fr-FR" sz="2600" dirty="0" smtClean="0"/>
              <a:t>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0423405"/>
              </p:ext>
            </p:extLst>
          </p:nvPr>
        </p:nvGraphicFramePr>
        <p:xfrm>
          <a:off x="940778" y="3985043"/>
          <a:ext cx="10199076" cy="2123440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2549769"/>
                <a:gridCol w="2549769"/>
                <a:gridCol w="2549769"/>
                <a:gridCol w="2549769"/>
              </a:tblGrid>
              <a:tr h="349880">
                <a:tc>
                  <a:txBody>
                    <a:bodyPr/>
                    <a:lstStyle/>
                    <a:p>
                      <a:r>
                        <a:rPr lang="fr-FR" sz="1800" b="1" kern="1200" dirty="0" smtClean="0">
                          <a:solidFill>
                            <a:schemeClr val="lt1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Equation de recherche complète</a:t>
                      </a:r>
                      <a:endParaRPr lang="fr-FR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latin typeface="Corbel" panose="020B0503020204020204" pitchFamily="34" charset="0"/>
                        </a:rPr>
                        <a:t>Date</a:t>
                      </a:r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err="1" smtClean="0">
                          <a:latin typeface="Corbel" panose="020B0503020204020204" pitchFamily="34" charset="0"/>
                        </a:rPr>
                        <a:t>Nbre</a:t>
                      </a:r>
                      <a:r>
                        <a:rPr lang="fr-FR" dirty="0" smtClean="0">
                          <a:latin typeface="Corbel" panose="020B0503020204020204" pitchFamily="34" charset="0"/>
                        </a:rPr>
                        <a:t> résultats</a:t>
                      </a:r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latin typeface="Corbel" panose="020B0503020204020204" pitchFamily="34" charset="0"/>
                        </a:rPr>
                        <a:t>Commentaire</a:t>
                      </a:r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Espace réservé du pied de page 4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2-05-03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25158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Paramétrage des accès institutionnels dans les outils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dirty="0" smtClean="0"/>
              <a:t>Navigateur Internet</a:t>
            </a:r>
          </a:p>
          <a:p>
            <a:r>
              <a:rPr lang="fr-FR" dirty="0" smtClean="0"/>
              <a:t>Google </a:t>
            </a:r>
            <a:r>
              <a:rPr lang="fr-FR" dirty="0" err="1" smtClean="0"/>
              <a:t>Scholar</a:t>
            </a:r>
            <a:endParaRPr lang="fr-FR" dirty="0" smtClean="0"/>
          </a:p>
          <a:p>
            <a:r>
              <a:rPr lang="fr-FR" dirty="0" smtClean="0"/>
              <a:t>Logiciel </a:t>
            </a:r>
            <a:r>
              <a:rPr lang="fr-FR" dirty="0"/>
              <a:t>de gestion bibliographique (</a:t>
            </a:r>
            <a:r>
              <a:rPr lang="fr-FR" dirty="0" err="1"/>
              <a:t>EndNote</a:t>
            </a:r>
            <a:r>
              <a:rPr lang="fr-FR" dirty="0"/>
              <a:t> et Zotero</a:t>
            </a:r>
            <a:r>
              <a:rPr lang="fr-FR" dirty="0" smtClean="0"/>
              <a:t>)</a:t>
            </a:r>
          </a:p>
          <a:p>
            <a:r>
              <a:rPr lang="fr-FR" dirty="0" smtClean="0"/>
              <a:t>Alternatives légales lorsque les accès institutionnels font défaut 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25</a:t>
            </a:fld>
            <a:endParaRPr lang="fr-FR" dirty="0"/>
          </a:p>
        </p:txBody>
      </p:sp>
      <p:grpSp>
        <p:nvGrpSpPr>
          <p:cNvPr id="50" name="Keywords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9539875" y="450744"/>
            <a:ext cx="2404788" cy="2251289"/>
            <a:chOff x="2660651" y="3714751"/>
            <a:chExt cx="820738" cy="768350"/>
          </a:xfrm>
          <a:solidFill>
            <a:schemeClr val="accent2"/>
          </a:solidFill>
        </p:grpSpPr>
        <p:sp>
          <p:nvSpPr>
            <p:cNvPr id="51" name="Rectangle 348"/>
            <p:cNvSpPr>
              <a:spLocks noChangeArrowheads="1"/>
            </p:cNvSpPr>
            <p:nvPr/>
          </p:nvSpPr>
          <p:spPr bwMode="auto">
            <a:xfrm>
              <a:off x="2789238" y="416560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2" name="Rectangle 349"/>
            <p:cNvSpPr>
              <a:spLocks noChangeArrowheads="1"/>
            </p:cNvSpPr>
            <p:nvPr/>
          </p:nvSpPr>
          <p:spPr bwMode="auto">
            <a:xfrm>
              <a:off x="2660651" y="416560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3" name="Rectangle 350"/>
            <p:cNvSpPr>
              <a:spLocks noChangeArrowheads="1"/>
            </p:cNvSpPr>
            <p:nvPr/>
          </p:nvSpPr>
          <p:spPr bwMode="auto">
            <a:xfrm>
              <a:off x="3008313" y="4165601"/>
              <a:ext cx="1031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4" name="Rectangle 351"/>
            <p:cNvSpPr>
              <a:spLocks noChangeArrowheads="1"/>
            </p:cNvSpPr>
            <p:nvPr/>
          </p:nvSpPr>
          <p:spPr bwMode="auto">
            <a:xfrm>
              <a:off x="2825751" y="3940176"/>
              <a:ext cx="10636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5" name="Rectangle 352"/>
            <p:cNvSpPr>
              <a:spLocks noChangeArrowheads="1"/>
            </p:cNvSpPr>
            <p:nvPr/>
          </p:nvSpPr>
          <p:spPr bwMode="auto">
            <a:xfrm>
              <a:off x="2660651" y="3940176"/>
              <a:ext cx="1127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6" name="Rectangle 353"/>
            <p:cNvSpPr>
              <a:spLocks noChangeArrowheads="1"/>
            </p:cNvSpPr>
            <p:nvPr/>
          </p:nvSpPr>
          <p:spPr bwMode="auto">
            <a:xfrm>
              <a:off x="2984501" y="3940176"/>
              <a:ext cx="1555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7" name="Rectangle 354"/>
            <p:cNvSpPr>
              <a:spLocks noChangeArrowheads="1"/>
            </p:cNvSpPr>
            <p:nvPr/>
          </p:nvSpPr>
          <p:spPr bwMode="auto">
            <a:xfrm>
              <a:off x="3192463" y="3940176"/>
              <a:ext cx="1047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8" name="Rectangle 355"/>
            <p:cNvSpPr>
              <a:spLocks noChangeArrowheads="1"/>
            </p:cNvSpPr>
            <p:nvPr/>
          </p:nvSpPr>
          <p:spPr bwMode="auto">
            <a:xfrm>
              <a:off x="3348038" y="3940176"/>
              <a:ext cx="7778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9" name="Rectangle 356"/>
            <p:cNvSpPr>
              <a:spLocks noChangeArrowheads="1"/>
            </p:cNvSpPr>
            <p:nvPr/>
          </p:nvSpPr>
          <p:spPr bwMode="auto">
            <a:xfrm>
              <a:off x="2852738" y="4052888"/>
              <a:ext cx="16033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0" name="Rectangle 357"/>
            <p:cNvSpPr>
              <a:spLocks noChangeArrowheads="1"/>
            </p:cNvSpPr>
            <p:nvPr/>
          </p:nvSpPr>
          <p:spPr bwMode="auto">
            <a:xfrm>
              <a:off x="2660651" y="4052888"/>
              <a:ext cx="1381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1" name="Rectangle 358"/>
            <p:cNvSpPr>
              <a:spLocks noChangeArrowheads="1"/>
            </p:cNvSpPr>
            <p:nvPr/>
          </p:nvSpPr>
          <p:spPr bwMode="auto">
            <a:xfrm>
              <a:off x="3063876" y="4052888"/>
              <a:ext cx="7302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2" name="Rectangle 359"/>
            <p:cNvSpPr>
              <a:spLocks noChangeArrowheads="1"/>
            </p:cNvSpPr>
            <p:nvPr/>
          </p:nvSpPr>
          <p:spPr bwMode="auto">
            <a:xfrm>
              <a:off x="3189288" y="4052888"/>
              <a:ext cx="1301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3" name="Rectangle 360"/>
            <p:cNvSpPr>
              <a:spLocks noChangeArrowheads="1"/>
            </p:cNvSpPr>
            <p:nvPr/>
          </p:nvSpPr>
          <p:spPr bwMode="auto">
            <a:xfrm>
              <a:off x="3371851" y="4052888"/>
              <a:ext cx="539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4" name="Rectangle 361"/>
            <p:cNvSpPr>
              <a:spLocks noChangeArrowheads="1"/>
            </p:cNvSpPr>
            <p:nvPr/>
          </p:nvSpPr>
          <p:spPr bwMode="auto">
            <a:xfrm>
              <a:off x="2876551" y="371475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5" name="Rectangle 362"/>
            <p:cNvSpPr>
              <a:spLocks noChangeArrowheads="1"/>
            </p:cNvSpPr>
            <p:nvPr/>
          </p:nvSpPr>
          <p:spPr bwMode="auto">
            <a:xfrm>
              <a:off x="2660651" y="371475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6" name="Rectangle 363"/>
            <p:cNvSpPr>
              <a:spLocks noChangeArrowheads="1"/>
            </p:cNvSpPr>
            <p:nvPr/>
          </p:nvSpPr>
          <p:spPr bwMode="auto">
            <a:xfrm>
              <a:off x="3008313" y="3714751"/>
              <a:ext cx="1571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7" name="Rectangle 364"/>
            <p:cNvSpPr>
              <a:spLocks noChangeArrowheads="1"/>
            </p:cNvSpPr>
            <p:nvPr/>
          </p:nvSpPr>
          <p:spPr bwMode="auto">
            <a:xfrm>
              <a:off x="3217863" y="3714751"/>
              <a:ext cx="2079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8" name="Freeform 365"/>
            <p:cNvSpPr>
              <a:spLocks noEditPoints="1"/>
            </p:cNvSpPr>
            <p:nvPr/>
          </p:nvSpPr>
          <p:spPr bwMode="auto">
            <a:xfrm>
              <a:off x="2660651" y="4165601"/>
              <a:ext cx="820738" cy="317500"/>
            </a:xfrm>
            <a:custGeom>
              <a:avLst/>
              <a:gdLst>
                <a:gd name="T0" fmla="*/ 456 w 527"/>
                <a:gd name="T1" fmla="*/ 128 h 204"/>
                <a:gd name="T2" fmla="*/ 432 w 527"/>
                <a:gd name="T3" fmla="*/ 104 h 204"/>
                <a:gd name="T4" fmla="*/ 456 w 527"/>
                <a:gd name="T5" fmla="*/ 80 h 204"/>
                <a:gd name="T6" fmla="*/ 480 w 527"/>
                <a:gd name="T7" fmla="*/ 104 h 204"/>
                <a:gd name="T8" fmla="*/ 456 w 527"/>
                <a:gd name="T9" fmla="*/ 128 h 204"/>
                <a:gd name="T10" fmla="*/ 432 w 527"/>
                <a:gd name="T11" fmla="*/ 3 h 204"/>
                <a:gd name="T12" fmla="*/ 328 w 527"/>
                <a:gd name="T13" fmla="*/ 75 h 204"/>
                <a:gd name="T14" fmla="*/ 324 w 527"/>
                <a:gd name="T15" fmla="*/ 79 h 204"/>
                <a:gd name="T16" fmla="*/ 5 w 527"/>
                <a:gd name="T17" fmla="*/ 79 h 204"/>
                <a:gd name="T18" fmla="*/ 0 w 527"/>
                <a:gd name="T19" fmla="*/ 83 h 204"/>
                <a:gd name="T20" fmla="*/ 0 w 527"/>
                <a:gd name="T21" fmla="*/ 168 h 204"/>
                <a:gd name="T22" fmla="*/ 5 w 527"/>
                <a:gd name="T23" fmla="*/ 173 h 204"/>
                <a:gd name="T24" fmla="*/ 45 w 527"/>
                <a:gd name="T25" fmla="*/ 173 h 204"/>
                <a:gd name="T26" fmla="*/ 50 w 527"/>
                <a:gd name="T27" fmla="*/ 168 h 204"/>
                <a:gd name="T28" fmla="*/ 50 w 527"/>
                <a:gd name="T29" fmla="*/ 133 h 204"/>
                <a:gd name="T30" fmla="*/ 55 w 527"/>
                <a:gd name="T31" fmla="*/ 129 h 204"/>
                <a:gd name="T32" fmla="*/ 84 w 527"/>
                <a:gd name="T33" fmla="*/ 129 h 204"/>
                <a:gd name="T34" fmla="*/ 89 w 527"/>
                <a:gd name="T35" fmla="*/ 133 h 204"/>
                <a:gd name="T36" fmla="*/ 89 w 527"/>
                <a:gd name="T37" fmla="*/ 170 h 204"/>
                <a:gd name="T38" fmla="*/ 94 w 527"/>
                <a:gd name="T39" fmla="*/ 175 h 204"/>
                <a:gd name="T40" fmla="*/ 134 w 527"/>
                <a:gd name="T41" fmla="*/ 175 h 204"/>
                <a:gd name="T42" fmla="*/ 139 w 527"/>
                <a:gd name="T43" fmla="*/ 170 h 204"/>
                <a:gd name="T44" fmla="*/ 139 w 527"/>
                <a:gd name="T45" fmla="*/ 133 h 204"/>
                <a:gd name="T46" fmla="*/ 144 w 527"/>
                <a:gd name="T47" fmla="*/ 129 h 204"/>
                <a:gd name="T48" fmla="*/ 324 w 527"/>
                <a:gd name="T49" fmla="*/ 129 h 204"/>
                <a:gd name="T50" fmla="*/ 328 w 527"/>
                <a:gd name="T51" fmla="*/ 132 h 204"/>
                <a:gd name="T52" fmla="*/ 425 w 527"/>
                <a:gd name="T53" fmla="*/ 204 h 204"/>
                <a:gd name="T54" fmla="*/ 526 w 527"/>
                <a:gd name="T55" fmla="*/ 102 h 204"/>
                <a:gd name="T56" fmla="*/ 432 w 527"/>
                <a:gd name="T57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7" h="204">
                  <a:moveTo>
                    <a:pt x="456" y="128"/>
                  </a:moveTo>
                  <a:cubicBezTo>
                    <a:pt x="443" y="128"/>
                    <a:pt x="432" y="117"/>
                    <a:pt x="432" y="104"/>
                  </a:cubicBezTo>
                  <a:cubicBezTo>
                    <a:pt x="432" y="90"/>
                    <a:pt x="443" y="80"/>
                    <a:pt x="456" y="80"/>
                  </a:cubicBezTo>
                  <a:cubicBezTo>
                    <a:pt x="469" y="80"/>
                    <a:pt x="480" y="90"/>
                    <a:pt x="480" y="104"/>
                  </a:cubicBezTo>
                  <a:cubicBezTo>
                    <a:pt x="480" y="117"/>
                    <a:pt x="469" y="128"/>
                    <a:pt x="456" y="128"/>
                  </a:cubicBezTo>
                  <a:close/>
                  <a:moveTo>
                    <a:pt x="432" y="3"/>
                  </a:moveTo>
                  <a:cubicBezTo>
                    <a:pt x="383" y="0"/>
                    <a:pt x="341" y="31"/>
                    <a:pt x="328" y="75"/>
                  </a:cubicBezTo>
                  <a:cubicBezTo>
                    <a:pt x="328" y="77"/>
                    <a:pt x="326" y="79"/>
                    <a:pt x="324" y="79"/>
                  </a:cubicBezTo>
                  <a:lnTo>
                    <a:pt x="5" y="79"/>
                  </a:lnTo>
                  <a:cubicBezTo>
                    <a:pt x="2" y="79"/>
                    <a:pt x="0" y="81"/>
                    <a:pt x="0" y="83"/>
                  </a:cubicBezTo>
                  <a:lnTo>
                    <a:pt x="0" y="168"/>
                  </a:lnTo>
                  <a:cubicBezTo>
                    <a:pt x="0" y="171"/>
                    <a:pt x="2" y="173"/>
                    <a:pt x="5" y="173"/>
                  </a:cubicBezTo>
                  <a:lnTo>
                    <a:pt x="45" y="173"/>
                  </a:lnTo>
                  <a:cubicBezTo>
                    <a:pt x="48" y="173"/>
                    <a:pt x="50" y="171"/>
                    <a:pt x="50" y="168"/>
                  </a:cubicBezTo>
                  <a:lnTo>
                    <a:pt x="50" y="133"/>
                  </a:lnTo>
                  <a:cubicBezTo>
                    <a:pt x="50" y="131"/>
                    <a:pt x="52" y="129"/>
                    <a:pt x="55" y="129"/>
                  </a:cubicBezTo>
                  <a:lnTo>
                    <a:pt x="84" y="129"/>
                  </a:lnTo>
                  <a:cubicBezTo>
                    <a:pt x="87" y="129"/>
                    <a:pt x="89" y="131"/>
                    <a:pt x="89" y="133"/>
                  </a:cubicBezTo>
                  <a:lnTo>
                    <a:pt x="89" y="170"/>
                  </a:lnTo>
                  <a:cubicBezTo>
                    <a:pt x="89" y="173"/>
                    <a:pt x="91" y="175"/>
                    <a:pt x="94" y="175"/>
                  </a:cubicBezTo>
                  <a:lnTo>
                    <a:pt x="134" y="175"/>
                  </a:lnTo>
                  <a:cubicBezTo>
                    <a:pt x="137" y="175"/>
                    <a:pt x="139" y="173"/>
                    <a:pt x="139" y="170"/>
                  </a:cubicBezTo>
                  <a:lnTo>
                    <a:pt x="139" y="133"/>
                  </a:lnTo>
                  <a:cubicBezTo>
                    <a:pt x="139" y="131"/>
                    <a:pt x="141" y="129"/>
                    <a:pt x="144" y="129"/>
                  </a:cubicBezTo>
                  <a:lnTo>
                    <a:pt x="324" y="129"/>
                  </a:lnTo>
                  <a:cubicBezTo>
                    <a:pt x="326" y="129"/>
                    <a:pt x="328" y="130"/>
                    <a:pt x="328" y="132"/>
                  </a:cubicBezTo>
                  <a:cubicBezTo>
                    <a:pt x="341" y="174"/>
                    <a:pt x="379" y="204"/>
                    <a:pt x="425" y="204"/>
                  </a:cubicBezTo>
                  <a:cubicBezTo>
                    <a:pt x="481" y="204"/>
                    <a:pt x="527" y="159"/>
                    <a:pt x="526" y="102"/>
                  </a:cubicBezTo>
                  <a:cubicBezTo>
                    <a:pt x="525" y="51"/>
                    <a:pt x="484" y="7"/>
                    <a:pt x="4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9" name="Rectangle 366"/>
            <p:cNvSpPr>
              <a:spLocks noChangeArrowheads="1"/>
            </p:cNvSpPr>
            <p:nvPr/>
          </p:nvSpPr>
          <p:spPr bwMode="auto">
            <a:xfrm>
              <a:off x="3128963" y="3827463"/>
              <a:ext cx="79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70" name="Rectangle 367"/>
            <p:cNvSpPr>
              <a:spLocks noChangeArrowheads="1"/>
            </p:cNvSpPr>
            <p:nvPr/>
          </p:nvSpPr>
          <p:spPr bwMode="auto">
            <a:xfrm>
              <a:off x="3260726" y="3827463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71" name="Rectangle 368"/>
            <p:cNvSpPr>
              <a:spLocks noChangeArrowheads="1"/>
            </p:cNvSpPr>
            <p:nvPr/>
          </p:nvSpPr>
          <p:spPr bwMode="auto">
            <a:xfrm>
              <a:off x="2919413" y="3827463"/>
              <a:ext cx="15875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72" name="Rectangle 369"/>
            <p:cNvSpPr>
              <a:spLocks noChangeArrowheads="1"/>
            </p:cNvSpPr>
            <p:nvPr/>
          </p:nvSpPr>
          <p:spPr bwMode="auto">
            <a:xfrm>
              <a:off x="2660651" y="3827463"/>
              <a:ext cx="206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70695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>
          <a:xfrm>
            <a:off x="521677" y="365125"/>
            <a:ext cx="10515600" cy="1325563"/>
          </a:xfrm>
        </p:spPr>
        <p:txBody>
          <a:bodyPr/>
          <a:lstStyle/>
          <a:p>
            <a:r>
              <a:rPr lang="fr-FR" dirty="0" smtClean="0"/>
              <a:t>Accès UB dans votre navigateur internet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idx="1"/>
          </p:nvPr>
        </p:nvSpPr>
        <p:spPr>
          <a:xfrm>
            <a:off x="521677" y="1474643"/>
            <a:ext cx="11198469" cy="4351338"/>
          </a:xfrm>
        </p:spPr>
        <p:txBody>
          <a:bodyPr/>
          <a:lstStyle/>
          <a:p>
            <a:pPr marL="0" indent="0">
              <a:buNone/>
            </a:pPr>
            <a:r>
              <a:rPr lang="fr-FR" dirty="0" smtClean="0"/>
              <a:t>Marque-page Firefox </a:t>
            </a:r>
            <a:r>
              <a:rPr lang="fr-FR" dirty="0"/>
              <a:t>pour vous rediriger vers les accès UB</a:t>
            </a:r>
          </a:p>
          <a:p>
            <a:pPr lvl="1"/>
            <a:r>
              <a:rPr lang="fr-FR" dirty="0"/>
              <a:t>Adresse à saisir </a:t>
            </a:r>
            <a:r>
              <a:rPr lang="fr-FR" dirty="0" smtClean="0"/>
              <a:t>:</a:t>
            </a:r>
          </a:p>
          <a:p>
            <a:pPr marL="457200" lvl="1" indent="0">
              <a:buNone/>
            </a:pPr>
            <a:r>
              <a:rPr lang="fr-FR" sz="2000" dirty="0" err="1" smtClean="0"/>
              <a:t>javascript:void</a:t>
            </a:r>
            <a:r>
              <a:rPr lang="fr-FR" sz="2000" dirty="0" smtClean="0"/>
              <a:t>(</a:t>
            </a:r>
            <a:r>
              <a:rPr lang="fr-FR" sz="2000" dirty="0" err="1" smtClean="0"/>
              <a:t>location.href</a:t>
            </a:r>
            <a:r>
              <a:rPr lang="fr-FR" sz="2000" dirty="0"/>
              <a:t>=%22http://docelec.u-bordeaux.fr/</a:t>
            </a:r>
            <a:r>
              <a:rPr lang="fr-FR" sz="2000" dirty="0" err="1"/>
              <a:t>login?url</a:t>
            </a:r>
            <a:r>
              <a:rPr lang="fr-FR" sz="2000" dirty="0"/>
              <a:t>=%22+location.href)</a:t>
            </a:r>
          </a:p>
          <a:p>
            <a:pPr lvl="1"/>
            <a:r>
              <a:rPr lang="fr-FR" dirty="0">
                <a:hlinkClick r:id="rId2"/>
              </a:rPr>
              <a:t>Tutoriel vidéo sur le site de </a:t>
            </a:r>
            <a:r>
              <a:rPr lang="fr-FR" dirty="0" smtClean="0">
                <a:hlinkClick r:id="rId2"/>
              </a:rPr>
              <a:t>l’UB</a:t>
            </a:r>
            <a:r>
              <a:rPr lang="fr-FR" dirty="0" smtClean="0"/>
              <a:t> 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26</a:t>
            </a:fld>
            <a:endParaRPr lang="fr-FR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6" r="2195"/>
          <a:stretch/>
        </p:blipFill>
        <p:spPr>
          <a:xfrm>
            <a:off x="5876459" y="3013896"/>
            <a:ext cx="4712677" cy="3185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1464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>
          <a:xfrm>
            <a:off x="521676" y="134937"/>
            <a:ext cx="11541370" cy="1325563"/>
          </a:xfrm>
        </p:spPr>
        <p:txBody>
          <a:bodyPr>
            <a:normAutofit/>
          </a:bodyPr>
          <a:lstStyle/>
          <a:p>
            <a:r>
              <a:rPr lang="fr-FR" dirty="0" smtClean="0"/>
              <a:t>Accès Inserm dans votre navigateur internet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idx="1"/>
          </p:nvPr>
        </p:nvSpPr>
        <p:spPr>
          <a:xfrm>
            <a:off x="493573" y="1460499"/>
            <a:ext cx="5128441" cy="5142665"/>
          </a:xfr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fr-FR" dirty="0" smtClean="0"/>
              <a:t>Extension </a:t>
            </a:r>
            <a:r>
              <a:rPr lang="fr-FR" dirty="0" smtClean="0">
                <a:hlinkClick r:id="rId2"/>
              </a:rPr>
              <a:t>Click and Read </a:t>
            </a:r>
            <a:r>
              <a:rPr lang="fr-FR" dirty="0" smtClean="0"/>
              <a:t>: bouton « Click and Read » affiché sur les listes de publication lorsqu’un accès au texte intégral via une des sources configurées est possible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fr-FR" dirty="0"/>
              <a:t>Compatible avec tous les navigateurs </a:t>
            </a:r>
            <a:r>
              <a:rPr lang="fr-FR" dirty="0" smtClean="0"/>
              <a:t>internet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fr-FR" dirty="0" smtClean="0"/>
              <a:t>Interroge les ressources acquises et en libre accès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fr-FR" dirty="0" smtClean="0"/>
              <a:t>Les références bibliographiques doivent comporter un identifiant (DOI, PMID, Id Elsevier) pour être reconnues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27</a:t>
            </a:fld>
            <a:endParaRPr lang="fr-FR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03" b="21329"/>
          <a:stretch/>
        </p:blipFill>
        <p:spPr>
          <a:xfrm>
            <a:off x="5660904" y="1460499"/>
            <a:ext cx="6363251" cy="4305783"/>
          </a:xfrm>
          <a:prstGeom prst="rect">
            <a:avLst/>
          </a:prstGeom>
          <a:ln>
            <a:solidFill>
              <a:srgbClr val="FF6600"/>
            </a:solidFill>
          </a:ln>
        </p:spPr>
      </p:pic>
    </p:spTree>
    <p:extLst>
      <p:ext uri="{BB962C8B-B14F-4D97-AF65-F5344CB8AC3E}">
        <p14:creationId xmlns:p14="http://schemas.microsoft.com/office/powerpoint/2010/main" val="415679792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>
          <a:xfrm>
            <a:off x="673100" y="258763"/>
            <a:ext cx="10515600" cy="1325563"/>
          </a:xfrm>
        </p:spPr>
        <p:txBody>
          <a:bodyPr/>
          <a:lstStyle/>
          <a:p>
            <a:r>
              <a:rPr lang="fr-FR" dirty="0" smtClean="0"/>
              <a:t>Accès institutionnels dans Google </a:t>
            </a:r>
            <a:r>
              <a:rPr lang="fr-FR" dirty="0" err="1" smtClean="0"/>
              <a:t>Scholar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idx="1"/>
          </p:nvPr>
        </p:nvSpPr>
        <p:spPr>
          <a:xfrm>
            <a:off x="406400" y="1377952"/>
            <a:ext cx="11620500" cy="172084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2400" dirty="0" smtClean="0"/>
              <a:t>Dans les </a:t>
            </a:r>
            <a:r>
              <a:rPr lang="fr-FR" sz="2400" dirty="0" smtClean="0">
                <a:solidFill>
                  <a:srgbClr val="009DE0"/>
                </a:solidFill>
              </a:rPr>
              <a:t>Paramètres</a:t>
            </a:r>
            <a:r>
              <a:rPr lang="fr-FR" sz="2400" dirty="0" smtClean="0"/>
              <a:t> &gt; </a:t>
            </a:r>
            <a:r>
              <a:rPr lang="fr-FR" sz="2400" dirty="0" smtClean="0">
                <a:solidFill>
                  <a:srgbClr val="009DE0"/>
                </a:solidFill>
              </a:rPr>
              <a:t>Liens vers des bibliothèques</a:t>
            </a:r>
            <a:r>
              <a:rPr lang="fr-FR" sz="2400" dirty="0" smtClean="0"/>
              <a:t>, cherchez « </a:t>
            </a:r>
            <a:r>
              <a:rPr lang="fr-FR" sz="2400" dirty="0" err="1" smtClean="0"/>
              <a:t>insermbiblio</a:t>
            </a:r>
            <a:r>
              <a:rPr lang="fr-FR" sz="2400" dirty="0" smtClean="0"/>
              <a:t>  » et/ou « Bordeaux » et cochez la ou les cases correspondantes, puis enregistrez.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fr-FR" dirty="0"/>
              <a:t>Institut National de la Santé et de la Recherche Médicale - Accès </a:t>
            </a:r>
            <a:r>
              <a:rPr lang="fr-FR" dirty="0" err="1"/>
              <a:t>Insermbiblio</a:t>
            </a:r>
            <a:r>
              <a:rPr lang="fr-FR" dirty="0"/>
              <a:t>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fr-FR" dirty="0"/>
              <a:t>Université de Bordeaux - Accès </a:t>
            </a:r>
            <a:r>
              <a:rPr lang="fr-FR" dirty="0" err="1"/>
              <a:t>Univ</a:t>
            </a:r>
            <a:r>
              <a:rPr lang="fr-FR" dirty="0"/>
              <a:t>. Bordeaux</a:t>
            </a:r>
          </a:p>
          <a:p>
            <a:pPr marL="0" indent="0">
              <a:buNone/>
            </a:pPr>
            <a:endParaRPr lang="fr-FR" sz="24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28</a:t>
            </a:fld>
            <a:endParaRPr lang="fr-FR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" y="2961953"/>
            <a:ext cx="10058400" cy="3285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37630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>
          <a:xfrm>
            <a:off x="673100" y="258763"/>
            <a:ext cx="10515600" cy="1325563"/>
          </a:xfrm>
        </p:spPr>
        <p:txBody>
          <a:bodyPr/>
          <a:lstStyle/>
          <a:p>
            <a:r>
              <a:rPr lang="fr-FR" dirty="0" smtClean="0"/>
              <a:t>Accès institutionnels dans Google </a:t>
            </a:r>
            <a:r>
              <a:rPr lang="fr-FR" dirty="0" err="1" smtClean="0"/>
              <a:t>Scholar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idx="1"/>
          </p:nvPr>
        </p:nvSpPr>
        <p:spPr>
          <a:xfrm>
            <a:off x="397608" y="1424744"/>
            <a:ext cx="11620500" cy="172084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2400" dirty="0" smtClean="0"/>
              <a:t>Les liens contextuels correspondants s’affichent ensuite dans votre liste de résultats.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29</a:t>
            </a:fld>
            <a:endParaRPr lang="fr-FR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55" y="2324117"/>
            <a:ext cx="11997690" cy="3771614"/>
          </a:xfrm>
          <a:prstGeom prst="rect">
            <a:avLst/>
          </a:prstGeom>
        </p:spPr>
      </p:pic>
      <p:sp>
        <p:nvSpPr>
          <p:cNvPr id="6" name="Rectangle à coins arrondis 5"/>
          <p:cNvSpPr/>
          <p:nvPr/>
        </p:nvSpPr>
        <p:spPr>
          <a:xfrm>
            <a:off x="7948246" y="3212657"/>
            <a:ext cx="2039816" cy="2744798"/>
          </a:xfrm>
          <a:prstGeom prst="roundRect">
            <a:avLst/>
          </a:prstGeom>
          <a:noFill/>
          <a:ln w="38100">
            <a:solidFill>
              <a:srgbClr val="FF6600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26607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211133" y="0"/>
            <a:ext cx="10515600" cy="1325563"/>
          </a:xfrm>
        </p:spPr>
        <p:txBody>
          <a:bodyPr/>
          <a:lstStyle/>
          <a:p>
            <a:r>
              <a:rPr lang="fr-FR" dirty="0" smtClean="0"/>
              <a:t>Introduction : le triangle de la recherch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3</a:t>
            </a:fld>
            <a:endParaRPr lang="fr-FR"/>
          </a:p>
        </p:txBody>
      </p:sp>
      <p:pic>
        <p:nvPicPr>
          <p:cNvPr id="3" name="Espace réservé du contenu 2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4" y="1099828"/>
            <a:ext cx="9585556" cy="4351338"/>
          </a:xfrm>
        </p:spPr>
      </p:pic>
      <p:sp>
        <p:nvSpPr>
          <p:cNvPr id="8" name="Rectangle 7"/>
          <p:cNvSpPr/>
          <p:nvPr/>
        </p:nvSpPr>
        <p:spPr>
          <a:xfrm>
            <a:off x="9309069" y="3420975"/>
            <a:ext cx="2685326" cy="2862322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fr-FR" dirty="0" smtClean="0">
                <a:latin typeface="Corbel" panose="020B0503020204020204" pitchFamily="34" charset="0"/>
              </a:rPr>
              <a:t>« Le </a:t>
            </a:r>
            <a:r>
              <a:rPr lang="fr-FR" dirty="0">
                <a:latin typeface="Corbel" panose="020B0503020204020204" pitchFamily="34" charset="0"/>
              </a:rPr>
              <a:t>"triangle de la recherche" : une recherche efficace et efficiente ne fonctionne que lorsque les trois éléments (objectifs de la recherche, systèmes de recherche et </a:t>
            </a:r>
            <a:r>
              <a:rPr lang="fr-FR" dirty="0" smtClean="0">
                <a:latin typeface="Corbel" panose="020B0503020204020204" pitchFamily="34" charset="0"/>
              </a:rPr>
              <a:t>heuristiques </a:t>
            </a:r>
            <a:r>
              <a:rPr lang="fr-FR" dirty="0">
                <a:latin typeface="Corbel" panose="020B0503020204020204" pitchFamily="34" charset="0"/>
              </a:rPr>
              <a:t>de </a:t>
            </a:r>
            <a:r>
              <a:rPr lang="fr-FR" dirty="0" smtClean="0">
                <a:latin typeface="Corbel" panose="020B0503020204020204" pitchFamily="34" charset="0"/>
              </a:rPr>
              <a:t>recherche</a:t>
            </a:r>
            <a:r>
              <a:rPr lang="fr-FR" dirty="0">
                <a:latin typeface="Corbel" panose="020B0503020204020204" pitchFamily="34" charset="0"/>
              </a:rPr>
              <a:t>) sont en adéquation</a:t>
            </a:r>
            <a:r>
              <a:rPr lang="fr-FR" dirty="0" smtClean="0">
                <a:latin typeface="Corbel" panose="020B0503020204020204" pitchFamily="34" charset="0"/>
              </a:rPr>
              <a:t>. »</a:t>
            </a:r>
            <a:endParaRPr lang="fr-FR" dirty="0">
              <a:latin typeface="Corbel" panose="020B0503020204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11134" y="5950726"/>
            <a:ext cx="89124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latin typeface="Corbel" panose="020B0503020204020204" pitchFamily="34" charset="0"/>
              </a:rPr>
              <a:t>Gusenbauer</a:t>
            </a:r>
            <a:r>
              <a:rPr lang="en-US" sz="1400" dirty="0">
                <a:latin typeface="Corbel" panose="020B0503020204020204" pitchFamily="34" charset="0"/>
              </a:rPr>
              <a:t>, M., &amp; </a:t>
            </a:r>
            <a:r>
              <a:rPr lang="en-US" sz="1400" dirty="0" err="1">
                <a:latin typeface="Corbel" panose="020B0503020204020204" pitchFamily="34" charset="0"/>
              </a:rPr>
              <a:t>Haddaway</a:t>
            </a:r>
            <a:r>
              <a:rPr lang="en-US" sz="1400" dirty="0">
                <a:latin typeface="Corbel" panose="020B0503020204020204" pitchFamily="34" charset="0"/>
              </a:rPr>
              <a:t>, N. (2021). What every Researcher should know about Searching – Clarified Concepts, Search Advice, and an Agenda to improve Finding in Academia. </a:t>
            </a:r>
            <a:r>
              <a:rPr lang="en-US" sz="1400" i="1" dirty="0">
                <a:latin typeface="Corbel" panose="020B0503020204020204" pitchFamily="34" charset="0"/>
              </a:rPr>
              <a:t>Research Synthesis Methods</a:t>
            </a:r>
            <a:r>
              <a:rPr lang="en-US" sz="1400" dirty="0">
                <a:latin typeface="Corbel" panose="020B0503020204020204" pitchFamily="34" charset="0"/>
              </a:rPr>
              <a:t>, </a:t>
            </a:r>
            <a:r>
              <a:rPr lang="en-US" sz="1400" i="1" dirty="0">
                <a:latin typeface="Corbel" panose="020B0503020204020204" pitchFamily="34" charset="0"/>
              </a:rPr>
              <a:t>12</a:t>
            </a:r>
            <a:r>
              <a:rPr lang="en-US" sz="1400" dirty="0">
                <a:latin typeface="Corbel" panose="020B0503020204020204" pitchFamily="34" charset="0"/>
              </a:rPr>
              <a:t>(2), 136‑147. </a:t>
            </a:r>
            <a:r>
              <a:rPr lang="en-US" sz="1400" dirty="0">
                <a:latin typeface="Corbel" panose="020B0503020204020204" pitchFamily="34" charset="0"/>
                <a:hlinkClick r:id="rId4"/>
              </a:rPr>
              <a:t>https://doi.org/10.1002/jrsm.1457</a:t>
            </a:r>
            <a:endParaRPr lang="en-US" sz="1400" dirty="0">
              <a:effectLst/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8275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5120" y="14545"/>
            <a:ext cx="10515600" cy="1325563"/>
          </a:xfrm>
        </p:spPr>
        <p:txBody>
          <a:bodyPr/>
          <a:lstStyle/>
          <a:p>
            <a:r>
              <a:rPr lang="fr-FR" dirty="0"/>
              <a:t>Accès institutionnels dans Google </a:t>
            </a:r>
            <a:r>
              <a:rPr lang="fr-FR" dirty="0" err="1"/>
              <a:t>Scholar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28236" y="1170189"/>
            <a:ext cx="3810363" cy="4770579"/>
          </a:xfrm>
        </p:spPr>
        <p:txBody>
          <a:bodyPr>
            <a:noAutofit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fr-FR" sz="2400" dirty="0" smtClean="0"/>
              <a:t>Extension « Bouton </a:t>
            </a:r>
            <a:r>
              <a:rPr lang="fr-FR" sz="2400" dirty="0"/>
              <a:t>Google </a:t>
            </a:r>
            <a:r>
              <a:rPr lang="fr-FR" sz="2400" dirty="0" err="1" smtClean="0"/>
              <a:t>Scholar</a:t>
            </a:r>
            <a:r>
              <a:rPr lang="fr-FR" sz="2400" dirty="0" smtClean="0"/>
              <a:t> » </a:t>
            </a:r>
          </a:p>
          <a:p>
            <a:pPr>
              <a:lnSpc>
                <a:spcPct val="110000"/>
              </a:lnSpc>
              <a:buFont typeface="Corbel" panose="020B0503020204020204" pitchFamily="34" charset="0"/>
              <a:buChar char="›"/>
            </a:pPr>
            <a:r>
              <a:rPr lang="fr-FR" sz="2400" dirty="0" smtClean="0"/>
              <a:t>Ouvre une fenêtre de recherche dans Google </a:t>
            </a:r>
            <a:r>
              <a:rPr lang="fr-FR" sz="2400" dirty="0" err="1" smtClean="0"/>
              <a:t>Scholar</a:t>
            </a:r>
            <a:endParaRPr lang="fr-FR" sz="2400" dirty="0"/>
          </a:p>
          <a:p>
            <a:pPr>
              <a:lnSpc>
                <a:spcPct val="110000"/>
              </a:lnSpc>
              <a:buFont typeface="Corbel" panose="020B0503020204020204" pitchFamily="34" charset="0"/>
              <a:buChar char="›"/>
            </a:pPr>
            <a:r>
              <a:rPr lang="fr-FR" sz="2400" dirty="0" smtClean="0"/>
              <a:t>Sur la page d’un article ou à partir de sa citation en bibliographie, affiche le résultat de la recherche Google </a:t>
            </a:r>
            <a:r>
              <a:rPr lang="fr-FR" sz="2400" dirty="0" err="1" smtClean="0"/>
              <a:t>Scholar</a:t>
            </a:r>
            <a:r>
              <a:rPr lang="fr-FR" sz="2400" dirty="0" smtClean="0"/>
              <a:t> correspondant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30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599" y="368840"/>
            <a:ext cx="678239" cy="731583"/>
          </a:xfrm>
          <a:prstGeom prst="rect">
            <a:avLst/>
          </a:prstGeom>
          <a:ln w="19050">
            <a:solidFill>
              <a:schemeClr val="bg1">
                <a:lumMod val="50000"/>
              </a:schemeClr>
            </a:solidFill>
          </a:ln>
        </p:spPr>
      </p:pic>
      <p:grpSp>
        <p:nvGrpSpPr>
          <p:cNvPr id="8" name="Arrow34" descr="{&quot;Key&quot;:&quot;POWER_USER_SHAPE_ICON&quot;,&quot;Value&quot;:&quot;POWER_USER_SHAPE_ICON_STYLE_1&quot;}">
            <a:extLst>
              <a:ext uri="{FF2B5EF4-FFF2-40B4-BE49-F238E27FC236}">
                <a16:creationId xmlns="" xmlns:a16="http://schemas.microsoft.com/office/drawing/2014/main" id="{43E68E00-EA18-49EE-91A7-B065011E5152}"/>
              </a:ext>
            </a:extLst>
          </p:cNvPr>
          <p:cNvGrpSpPr>
            <a:grpSpLocks noChangeAspect="1"/>
          </p:cNvGrpSpPr>
          <p:nvPr/>
        </p:nvGrpSpPr>
        <p:grpSpPr>
          <a:xfrm>
            <a:off x="10677532" y="631995"/>
            <a:ext cx="543178" cy="538194"/>
            <a:chOff x="6004176" y="1690066"/>
            <a:chExt cx="1039285" cy="1029748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9" name="Freeform 195">
              <a:extLst>
                <a:ext uri="{FF2B5EF4-FFF2-40B4-BE49-F238E27FC236}">
                  <a16:creationId xmlns="" xmlns:a16="http://schemas.microsoft.com/office/drawing/2014/main" id="{B426E1A2-1601-4CCF-ADA5-FD93175396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939" y="1880760"/>
              <a:ext cx="781845" cy="476735"/>
            </a:xfrm>
            <a:custGeom>
              <a:avLst/>
              <a:gdLst>
                <a:gd name="T0" fmla="*/ 81 w 1018"/>
                <a:gd name="T1" fmla="*/ 623 h 623"/>
                <a:gd name="T2" fmla="*/ 34 w 1018"/>
                <a:gd name="T3" fmla="*/ 606 h 623"/>
                <a:gd name="T4" fmla="*/ 26 w 1018"/>
                <a:gd name="T5" fmla="*/ 504 h 623"/>
                <a:gd name="T6" fmla="*/ 933 w 1018"/>
                <a:gd name="T7" fmla="*/ 4 h 623"/>
                <a:gd name="T8" fmla="*/ 1013 w 1018"/>
                <a:gd name="T9" fmla="*/ 68 h 623"/>
                <a:gd name="T10" fmla="*/ 949 w 1018"/>
                <a:gd name="T11" fmla="*/ 148 h 623"/>
                <a:gd name="T12" fmla="*/ 136 w 1018"/>
                <a:gd name="T13" fmla="*/ 598 h 623"/>
                <a:gd name="T14" fmla="*/ 81 w 1018"/>
                <a:gd name="T1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8" h="623">
                  <a:moveTo>
                    <a:pt x="81" y="623"/>
                  </a:moveTo>
                  <a:cubicBezTo>
                    <a:pt x="65" y="623"/>
                    <a:pt x="48" y="618"/>
                    <a:pt x="34" y="606"/>
                  </a:cubicBezTo>
                  <a:cubicBezTo>
                    <a:pt x="4" y="580"/>
                    <a:pt x="0" y="534"/>
                    <a:pt x="26" y="504"/>
                  </a:cubicBezTo>
                  <a:cubicBezTo>
                    <a:pt x="282" y="206"/>
                    <a:pt x="578" y="43"/>
                    <a:pt x="933" y="4"/>
                  </a:cubicBezTo>
                  <a:cubicBezTo>
                    <a:pt x="973" y="0"/>
                    <a:pt x="1009" y="29"/>
                    <a:pt x="1013" y="68"/>
                  </a:cubicBezTo>
                  <a:cubicBezTo>
                    <a:pt x="1018" y="108"/>
                    <a:pt x="989" y="144"/>
                    <a:pt x="949" y="148"/>
                  </a:cubicBezTo>
                  <a:cubicBezTo>
                    <a:pt x="628" y="183"/>
                    <a:pt x="370" y="326"/>
                    <a:pt x="136" y="598"/>
                  </a:cubicBezTo>
                  <a:cubicBezTo>
                    <a:pt x="122" y="615"/>
                    <a:pt x="102" y="623"/>
                    <a:pt x="81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solidFill>
                    <a:srgbClr val="7030A0"/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0" name="Freeform 196">
              <a:extLst>
                <a:ext uri="{FF2B5EF4-FFF2-40B4-BE49-F238E27FC236}">
                  <a16:creationId xmlns="" xmlns:a16="http://schemas.microsoft.com/office/drawing/2014/main" id="{7CA8E433-9ACF-4A11-B832-05AE8A209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453" y="2376565"/>
              <a:ext cx="152555" cy="171625"/>
            </a:xfrm>
            <a:custGeom>
              <a:avLst/>
              <a:gdLst>
                <a:gd name="T0" fmla="*/ 83 w 205"/>
                <a:gd name="T1" fmla="*/ 223 h 223"/>
                <a:gd name="T2" fmla="*/ 48 w 205"/>
                <a:gd name="T3" fmla="*/ 214 h 223"/>
                <a:gd name="T4" fmla="*/ 19 w 205"/>
                <a:gd name="T5" fmla="*/ 116 h 223"/>
                <a:gd name="T6" fmla="*/ 61 w 205"/>
                <a:gd name="T7" fmla="*/ 45 h 223"/>
                <a:gd name="T8" fmla="*/ 160 w 205"/>
                <a:gd name="T9" fmla="*/ 22 h 223"/>
                <a:gd name="T10" fmla="*/ 184 w 205"/>
                <a:gd name="T11" fmla="*/ 121 h 223"/>
                <a:gd name="T12" fmla="*/ 146 w 205"/>
                <a:gd name="T13" fmla="*/ 186 h 223"/>
                <a:gd name="T14" fmla="*/ 83 w 205"/>
                <a:gd name="T15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223">
                  <a:moveTo>
                    <a:pt x="83" y="223"/>
                  </a:moveTo>
                  <a:cubicBezTo>
                    <a:pt x="71" y="223"/>
                    <a:pt x="59" y="220"/>
                    <a:pt x="48" y="214"/>
                  </a:cubicBezTo>
                  <a:cubicBezTo>
                    <a:pt x="13" y="195"/>
                    <a:pt x="0" y="151"/>
                    <a:pt x="19" y="116"/>
                  </a:cubicBezTo>
                  <a:cubicBezTo>
                    <a:pt x="32" y="92"/>
                    <a:pt x="46" y="68"/>
                    <a:pt x="61" y="45"/>
                  </a:cubicBezTo>
                  <a:cubicBezTo>
                    <a:pt x="82" y="11"/>
                    <a:pt x="126" y="0"/>
                    <a:pt x="160" y="22"/>
                  </a:cubicBezTo>
                  <a:cubicBezTo>
                    <a:pt x="194" y="42"/>
                    <a:pt x="205" y="87"/>
                    <a:pt x="184" y="121"/>
                  </a:cubicBezTo>
                  <a:cubicBezTo>
                    <a:pt x="171" y="142"/>
                    <a:pt x="158" y="164"/>
                    <a:pt x="146" y="186"/>
                  </a:cubicBezTo>
                  <a:cubicBezTo>
                    <a:pt x="133" y="210"/>
                    <a:pt x="108" y="223"/>
                    <a:pt x="83" y="2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solidFill>
                    <a:srgbClr val="7030A0"/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1" name="Freeform 197">
              <a:extLst>
                <a:ext uri="{FF2B5EF4-FFF2-40B4-BE49-F238E27FC236}">
                  <a16:creationId xmlns="" xmlns:a16="http://schemas.microsoft.com/office/drawing/2014/main" id="{B1AA219A-44DC-4DD1-B062-924FC970B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176" y="2586328"/>
              <a:ext cx="133486" cy="133486"/>
            </a:xfrm>
            <a:custGeom>
              <a:avLst/>
              <a:gdLst>
                <a:gd name="T0" fmla="*/ 81 w 167"/>
                <a:gd name="T1" fmla="*/ 169 h 169"/>
                <a:gd name="T2" fmla="*/ 59 w 167"/>
                <a:gd name="T3" fmla="*/ 166 h 169"/>
                <a:gd name="T4" fmla="*/ 12 w 167"/>
                <a:gd name="T5" fmla="*/ 75 h 169"/>
                <a:gd name="T6" fmla="*/ 17 w 167"/>
                <a:gd name="T7" fmla="*/ 60 h 169"/>
                <a:gd name="T8" fmla="*/ 108 w 167"/>
                <a:gd name="T9" fmla="*/ 12 h 169"/>
                <a:gd name="T10" fmla="*/ 155 w 167"/>
                <a:gd name="T11" fmla="*/ 103 h 169"/>
                <a:gd name="T12" fmla="*/ 150 w 167"/>
                <a:gd name="T13" fmla="*/ 118 h 169"/>
                <a:gd name="T14" fmla="*/ 81 w 167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169">
                  <a:moveTo>
                    <a:pt x="81" y="169"/>
                  </a:moveTo>
                  <a:cubicBezTo>
                    <a:pt x="74" y="169"/>
                    <a:pt x="67" y="168"/>
                    <a:pt x="59" y="166"/>
                  </a:cubicBezTo>
                  <a:cubicBezTo>
                    <a:pt x="21" y="154"/>
                    <a:pt x="0" y="113"/>
                    <a:pt x="12" y="75"/>
                  </a:cubicBezTo>
                  <a:lnTo>
                    <a:pt x="17" y="60"/>
                  </a:lnTo>
                  <a:cubicBezTo>
                    <a:pt x="29" y="21"/>
                    <a:pt x="69" y="0"/>
                    <a:pt x="108" y="12"/>
                  </a:cubicBezTo>
                  <a:cubicBezTo>
                    <a:pt x="146" y="24"/>
                    <a:pt x="167" y="65"/>
                    <a:pt x="155" y="103"/>
                  </a:cubicBezTo>
                  <a:lnTo>
                    <a:pt x="150" y="118"/>
                  </a:lnTo>
                  <a:cubicBezTo>
                    <a:pt x="140" y="149"/>
                    <a:pt x="112" y="169"/>
                    <a:pt x="81" y="16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solidFill>
                    <a:srgbClr val="7030A0"/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2" name="Freeform 198">
              <a:extLst>
                <a:ext uri="{FF2B5EF4-FFF2-40B4-BE49-F238E27FC236}">
                  <a16:creationId xmlns="" xmlns:a16="http://schemas.microsoft.com/office/drawing/2014/main" id="{D93843A3-5211-4329-AAB5-9A71A272F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535" y="1690066"/>
              <a:ext cx="390926" cy="562551"/>
            </a:xfrm>
            <a:custGeom>
              <a:avLst/>
              <a:gdLst>
                <a:gd name="T0" fmla="*/ 197 w 510"/>
                <a:gd name="T1" fmla="*/ 738 h 738"/>
                <a:gd name="T2" fmla="*/ 156 w 510"/>
                <a:gd name="T3" fmla="*/ 726 h 738"/>
                <a:gd name="T4" fmla="*/ 137 w 510"/>
                <a:gd name="T5" fmla="*/ 625 h 738"/>
                <a:gd name="T6" fmla="*/ 334 w 510"/>
                <a:gd name="T7" fmla="*/ 336 h 738"/>
                <a:gd name="T8" fmla="*/ 42 w 510"/>
                <a:gd name="T9" fmla="*/ 143 h 738"/>
                <a:gd name="T10" fmla="*/ 22 w 510"/>
                <a:gd name="T11" fmla="*/ 42 h 738"/>
                <a:gd name="T12" fmla="*/ 123 w 510"/>
                <a:gd name="T13" fmla="*/ 22 h 738"/>
                <a:gd name="T14" fmla="*/ 476 w 510"/>
                <a:gd name="T15" fmla="*/ 256 h 738"/>
                <a:gd name="T16" fmla="*/ 507 w 510"/>
                <a:gd name="T17" fmla="*/ 303 h 738"/>
                <a:gd name="T18" fmla="*/ 495 w 510"/>
                <a:gd name="T19" fmla="*/ 358 h 738"/>
                <a:gd name="T20" fmla="*/ 257 w 510"/>
                <a:gd name="T21" fmla="*/ 707 h 738"/>
                <a:gd name="T22" fmla="*/ 197 w 510"/>
                <a:gd name="T23" fmla="*/ 738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0" h="738">
                  <a:moveTo>
                    <a:pt x="197" y="738"/>
                  </a:moveTo>
                  <a:cubicBezTo>
                    <a:pt x="183" y="738"/>
                    <a:pt x="169" y="734"/>
                    <a:pt x="156" y="726"/>
                  </a:cubicBezTo>
                  <a:cubicBezTo>
                    <a:pt x="123" y="703"/>
                    <a:pt x="115" y="658"/>
                    <a:pt x="137" y="625"/>
                  </a:cubicBezTo>
                  <a:lnTo>
                    <a:pt x="334" y="336"/>
                  </a:lnTo>
                  <a:lnTo>
                    <a:pt x="42" y="143"/>
                  </a:lnTo>
                  <a:cubicBezTo>
                    <a:pt x="9" y="120"/>
                    <a:pt x="0" y="75"/>
                    <a:pt x="22" y="42"/>
                  </a:cubicBezTo>
                  <a:cubicBezTo>
                    <a:pt x="44" y="9"/>
                    <a:pt x="89" y="0"/>
                    <a:pt x="123" y="22"/>
                  </a:cubicBezTo>
                  <a:lnTo>
                    <a:pt x="476" y="256"/>
                  </a:lnTo>
                  <a:cubicBezTo>
                    <a:pt x="492" y="267"/>
                    <a:pt x="503" y="284"/>
                    <a:pt x="507" y="303"/>
                  </a:cubicBezTo>
                  <a:cubicBezTo>
                    <a:pt x="510" y="322"/>
                    <a:pt x="506" y="342"/>
                    <a:pt x="495" y="358"/>
                  </a:cubicBezTo>
                  <a:lnTo>
                    <a:pt x="257" y="707"/>
                  </a:lnTo>
                  <a:cubicBezTo>
                    <a:pt x="243" y="727"/>
                    <a:pt x="220" y="738"/>
                    <a:pt x="197" y="7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solidFill>
                    <a:srgbClr val="7030A0"/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13" name="Imag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7317" y="1190122"/>
            <a:ext cx="6889077" cy="461812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901700" y="6036322"/>
            <a:ext cx="1120902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dirty="0">
                <a:latin typeface="Corbel" panose="020B0503020204020204" pitchFamily="34" charset="0"/>
              </a:rPr>
              <a:t>Voir notre tuto </a:t>
            </a:r>
            <a:r>
              <a:rPr lang="fr-FR" sz="2000" dirty="0" err="1">
                <a:latin typeface="Corbel" panose="020B0503020204020204" pitchFamily="34" charset="0"/>
              </a:rPr>
              <a:t>doc’Isped</a:t>
            </a:r>
            <a:r>
              <a:rPr lang="fr-FR" sz="2000" dirty="0">
                <a:latin typeface="Corbel" panose="020B0503020204020204" pitchFamily="34" charset="0"/>
              </a:rPr>
              <a:t> : </a:t>
            </a:r>
            <a:r>
              <a:rPr lang="fr-FR" sz="2000" dirty="0">
                <a:latin typeface="Corbel" panose="020B0503020204020204" pitchFamily="34" charset="0"/>
                <a:hlinkClick r:id="rId5"/>
              </a:rPr>
              <a:t>Trouver rapidement le texte intégral d’une publication scientifique</a:t>
            </a:r>
            <a:r>
              <a:rPr lang="fr-FR" sz="2000" dirty="0">
                <a:latin typeface="Corbel" panose="020B0503020204020204" pitchFamily="34" charset="0"/>
              </a:rPr>
              <a:t> </a:t>
            </a:r>
          </a:p>
        </p:txBody>
      </p:sp>
      <p:grpSp>
        <p:nvGrpSpPr>
          <p:cNvPr id="15" name="Arrow19" descr="{&quot;Key&quot;:&quot;POWER_USER_SHAPE_ICON&quot;,&quot;Value&quot;:&quot;POWER_USER_SHAPE_ICON_STYLE_1&quot;}"/>
          <p:cNvGrpSpPr>
            <a:grpSpLocks noChangeAspect="1"/>
          </p:cNvGrpSpPr>
          <p:nvPr/>
        </p:nvGrpSpPr>
        <p:grpSpPr>
          <a:xfrm>
            <a:off x="433743" y="6069261"/>
            <a:ext cx="404457" cy="351782"/>
            <a:chOff x="1412032" y="2732632"/>
            <a:chExt cx="1016496" cy="884112"/>
          </a:xfrm>
          <a:solidFill>
            <a:schemeClr val="bg1">
              <a:lumMod val="50000"/>
            </a:schemeClr>
          </a:solidFill>
        </p:grpSpPr>
        <p:sp>
          <p:nvSpPr>
            <p:cNvPr id="16" name="Chevron 15"/>
            <p:cNvSpPr/>
            <p:nvPr/>
          </p:nvSpPr>
          <p:spPr>
            <a:xfrm>
              <a:off x="1412032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7" name="Chevron 16"/>
            <p:cNvSpPr/>
            <p:nvPr/>
          </p:nvSpPr>
          <p:spPr>
            <a:xfrm>
              <a:off x="1852464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010313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ccès institutionnels : dans votre logiciel de gestion bibliographiqu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idx="1"/>
          </p:nvPr>
        </p:nvSpPr>
        <p:spPr>
          <a:xfrm>
            <a:off x="838200" y="1825625"/>
            <a:ext cx="10408920" cy="4351338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fr-FR" dirty="0" smtClean="0"/>
              <a:t>Ces paramétrages sont disponibles pour </a:t>
            </a:r>
            <a:r>
              <a:rPr lang="fr-FR" dirty="0" err="1"/>
              <a:t>EndNote</a:t>
            </a:r>
            <a:r>
              <a:rPr lang="fr-FR" dirty="0"/>
              <a:t> et </a:t>
            </a:r>
            <a:r>
              <a:rPr lang="fr-FR" dirty="0" smtClean="0"/>
              <a:t>Zotero. Voir </a:t>
            </a:r>
            <a:r>
              <a:rPr lang="fr-FR" dirty="0"/>
              <a:t>nos tutos </a:t>
            </a:r>
            <a:r>
              <a:rPr lang="fr-FR" dirty="0" err="1"/>
              <a:t>doc’Isped</a:t>
            </a:r>
            <a:r>
              <a:rPr lang="fr-FR" dirty="0"/>
              <a:t> sur le site de </a:t>
            </a:r>
            <a:r>
              <a:rPr lang="fr-FR" dirty="0" smtClean="0"/>
              <a:t>l’</a:t>
            </a:r>
            <a:r>
              <a:rPr lang="fr-FR" dirty="0" err="1" smtClean="0"/>
              <a:t>Isped</a:t>
            </a:r>
            <a:r>
              <a:rPr lang="fr-FR" dirty="0" smtClean="0"/>
              <a:t>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fr-FR" dirty="0" smtClean="0">
                <a:hlinkClick r:id="rId2"/>
              </a:rPr>
              <a:t>Vie </a:t>
            </a:r>
            <a:r>
              <a:rPr lang="fr-FR" dirty="0">
                <a:hlinkClick r:id="rId2"/>
              </a:rPr>
              <a:t>étudiante &gt; Espace documentation &gt; </a:t>
            </a:r>
            <a:r>
              <a:rPr lang="fr-FR" dirty="0" smtClean="0">
                <a:hlinkClick r:id="rId2"/>
              </a:rPr>
              <a:t>Tutoriels</a:t>
            </a:r>
            <a:endParaRPr lang="fr-FR" dirty="0" smtClean="0"/>
          </a:p>
          <a:p>
            <a:pPr>
              <a:lnSpc>
                <a:spcPct val="100000"/>
              </a:lnSpc>
            </a:pPr>
            <a:r>
              <a:rPr lang="fr-FR" dirty="0" smtClean="0">
                <a:hlinkClick r:id="rId3"/>
              </a:rPr>
              <a:t> Lancer </a:t>
            </a:r>
            <a:r>
              <a:rPr lang="fr-FR" dirty="0">
                <a:hlinkClick r:id="rId3"/>
              </a:rPr>
              <a:t>une recherche dans les ressources de votre institution depuis </a:t>
            </a:r>
            <a:r>
              <a:rPr lang="fr-FR" dirty="0" smtClean="0">
                <a:hlinkClick r:id="rId3"/>
              </a:rPr>
              <a:t>Zotero</a:t>
            </a:r>
            <a:endParaRPr lang="fr-FR" dirty="0" smtClean="0"/>
          </a:p>
          <a:p>
            <a:pPr>
              <a:lnSpc>
                <a:spcPct val="100000"/>
              </a:lnSpc>
            </a:pPr>
            <a:r>
              <a:rPr lang="fr-FR" dirty="0">
                <a:hlinkClick r:id="rId4"/>
              </a:rPr>
              <a:t> </a:t>
            </a:r>
            <a:r>
              <a:rPr lang="fr-FR" dirty="0" err="1" smtClean="0">
                <a:hlinkClick r:id="rId4"/>
              </a:rPr>
              <a:t>EndNote</a:t>
            </a:r>
            <a:r>
              <a:rPr lang="fr-FR" dirty="0" smtClean="0">
                <a:hlinkClick r:id="rId4"/>
              </a:rPr>
              <a:t> </a:t>
            </a:r>
            <a:r>
              <a:rPr lang="fr-FR" dirty="0">
                <a:hlinkClick r:id="rId4"/>
              </a:rPr>
              <a:t>: récupérer le texte intégral des références (</a:t>
            </a:r>
            <a:r>
              <a:rPr lang="fr-FR" i="1" dirty="0" err="1">
                <a:hlinkClick r:id="rId4"/>
              </a:rPr>
              <a:t>Find</a:t>
            </a:r>
            <a:r>
              <a:rPr lang="fr-FR" i="1" dirty="0">
                <a:hlinkClick r:id="rId4"/>
              </a:rPr>
              <a:t> Full </a:t>
            </a:r>
            <a:r>
              <a:rPr lang="fr-FR" i="1" dirty="0" err="1">
                <a:hlinkClick r:id="rId4"/>
              </a:rPr>
              <a:t>Text</a:t>
            </a:r>
            <a:r>
              <a:rPr lang="fr-FR" dirty="0">
                <a:hlinkClick r:id="rId4"/>
              </a:rPr>
              <a:t>)</a:t>
            </a: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700744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lternatives légales lorsque les accès institutionnels font défaut 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fr-FR" dirty="0" smtClean="0"/>
              <a:t> Site de l’éditeur : certains articles sont en lecture gratuite à l’unité ou temporairement, sans que cela puisse être repérable par nos outils institutionnels</a:t>
            </a:r>
          </a:p>
          <a:p>
            <a:pPr>
              <a:lnSpc>
                <a:spcPct val="100000"/>
              </a:lnSpc>
            </a:pPr>
            <a:r>
              <a:rPr lang="fr-FR" dirty="0"/>
              <a:t> </a:t>
            </a:r>
            <a:r>
              <a:rPr lang="fr-FR" dirty="0" smtClean="0"/>
              <a:t>Recherche Google pour les possibilités non indexées par Google </a:t>
            </a:r>
            <a:r>
              <a:rPr lang="fr-FR" dirty="0" err="1" smtClean="0"/>
              <a:t>Scholar</a:t>
            </a:r>
            <a:r>
              <a:rPr lang="fr-FR" dirty="0" smtClean="0"/>
              <a:t>, fiche d’un article sans PDF associé sur </a:t>
            </a:r>
            <a:r>
              <a:rPr lang="fr-FR" dirty="0" err="1" smtClean="0"/>
              <a:t>ResearchGate</a:t>
            </a:r>
            <a:r>
              <a:rPr lang="fr-FR" dirty="0" smtClean="0"/>
              <a:t> par exemple</a:t>
            </a:r>
          </a:p>
          <a:p>
            <a:pPr>
              <a:lnSpc>
                <a:spcPct val="100000"/>
              </a:lnSpc>
            </a:pPr>
            <a:r>
              <a:rPr lang="fr-FR" dirty="0"/>
              <a:t> </a:t>
            </a:r>
            <a:r>
              <a:rPr lang="fr-FR" dirty="0" smtClean="0"/>
              <a:t>Prêt entre bibliothèques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 smtClean="0"/>
              <a:t>F. Flamerie - Recherche doc - 2022-05-03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32</a:t>
            </a:fld>
            <a:endParaRPr lang="fr-FR"/>
          </a:p>
        </p:txBody>
      </p:sp>
      <p:grpSp>
        <p:nvGrpSpPr>
          <p:cNvPr id="6" name="Arrow19" descr="{&quot;Key&quot;:&quot;POWER_USER_SHAPE_ICON&quot;,&quot;Value&quot;:&quot;POWER_USER_SHAPE_ICON_STYLE_1&quot;}"/>
          <p:cNvGrpSpPr>
            <a:grpSpLocks noChangeAspect="1"/>
          </p:cNvGrpSpPr>
          <p:nvPr/>
        </p:nvGrpSpPr>
        <p:grpSpPr>
          <a:xfrm>
            <a:off x="433743" y="5825181"/>
            <a:ext cx="404457" cy="351782"/>
            <a:chOff x="1412032" y="2732632"/>
            <a:chExt cx="1016496" cy="884112"/>
          </a:xfrm>
          <a:solidFill>
            <a:schemeClr val="bg1">
              <a:lumMod val="50000"/>
            </a:schemeClr>
          </a:solidFill>
        </p:grpSpPr>
        <p:sp>
          <p:nvSpPr>
            <p:cNvPr id="7" name="Chevron 6"/>
            <p:cNvSpPr/>
            <p:nvPr/>
          </p:nvSpPr>
          <p:spPr>
            <a:xfrm>
              <a:off x="1412032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8" name="Chevron 7"/>
            <p:cNvSpPr/>
            <p:nvPr/>
          </p:nvSpPr>
          <p:spPr>
            <a:xfrm>
              <a:off x="1852464" y="2732632"/>
              <a:ext cx="576064" cy="884112"/>
            </a:xfrm>
            <a:prstGeom prst="chevron">
              <a:avLst>
                <a:gd name="adj" fmla="val 56184"/>
              </a:avLst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1013445" y="5585573"/>
            <a:ext cx="1046163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1000"/>
              </a:spcBef>
            </a:pPr>
            <a:r>
              <a:rPr lang="fr-FR" sz="2400" dirty="0">
                <a:solidFill>
                  <a:prstClr val="black"/>
                </a:solidFill>
                <a:latin typeface="Corbel" panose="020B0503020204020204" pitchFamily="34" charset="0"/>
              </a:rPr>
              <a:t>Voir notre tuto </a:t>
            </a:r>
            <a:r>
              <a:rPr lang="fr-FR" sz="2400" dirty="0" err="1">
                <a:solidFill>
                  <a:prstClr val="black"/>
                </a:solidFill>
                <a:latin typeface="Corbel" panose="020B0503020204020204" pitchFamily="34" charset="0"/>
              </a:rPr>
              <a:t>doc’Isped</a:t>
            </a:r>
            <a:r>
              <a:rPr lang="fr-FR" sz="2400" dirty="0">
                <a:solidFill>
                  <a:prstClr val="black"/>
                </a:solidFill>
                <a:latin typeface="Corbel" panose="020B0503020204020204" pitchFamily="34" charset="0"/>
              </a:rPr>
              <a:t> : </a:t>
            </a:r>
            <a:r>
              <a:rPr lang="fr-FR" sz="2400" dirty="0">
                <a:solidFill>
                  <a:prstClr val="black"/>
                </a:solidFill>
                <a:latin typeface="Corbel" panose="020B0503020204020204" pitchFamily="34" charset="0"/>
                <a:hlinkClick r:id="rId2"/>
              </a:rPr>
              <a:t>Trouver rapidement le texte intégral d’une publication scientifique</a:t>
            </a:r>
            <a:endParaRPr lang="fr-FR" sz="2400" dirty="0">
              <a:solidFill>
                <a:prstClr val="black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217019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Merci pour votre attent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 Des questions?</a:t>
            </a:r>
          </a:p>
          <a:p>
            <a:r>
              <a:rPr lang="fr-FR" dirty="0"/>
              <a:t> </a:t>
            </a:r>
            <a:r>
              <a:rPr lang="fr-FR" dirty="0" smtClean="0"/>
              <a:t>Contact </a:t>
            </a:r>
            <a:r>
              <a:rPr lang="fr-FR" dirty="0" smtClean="0"/>
              <a:t>:</a:t>
            </a:r>
            <a:endParaRPr lang="fr-FR" dirty="0" smtClean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33</a:t>
            </a:fld>
            <a:endParaRPr lang="fr-FR" dirty="0"/>
          </a:p>
        </p:txBody>
      </p:sp>
      <p:grpSp>
        <p:nvGrpSpPr>
          <p:cNvPr id="7" name="Keywords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9539875" y="450744"/>
            <a:ext cx="2404788" cy="2251289"/>
            <a:chOff x="2660651" y="3714751"/>
            <a:chExt cx="820738" cy="768350"/>
          </a:xfrm>
          <a:solidFill>
            <a:schemeClr val="accent2"/>
          </a:solidFill>
        </p:grpSpPr>
        <p:sp>
          <p:nvSpPr>
            <p:cNvPr id="8" name="Rectangle 348"/>
            <p:cNvSpPr>
              <a:spLocks noChangeArrowheads="1"/>
            </p:cNvSpPr>
            <p:nvPr/>
          </p:nvSpPr>
          <p:spPr bwMode="auto">
            <a:xfrm>
              <a:off x="2789238" y="416560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9" name="Rectangle 349"/>
            <p:cNvSpPr>
              <a:spLocks noChangeArrowheads="1"/>
            </p:cNvSpPr>
            <p:nvPr/>
          </p:nvSpPr>
          <p:spPr bwMode="auto">
            <a:xfrm>
              <a:off x="2660651" y="416560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0" name="Rectangle 350"/>
            <p:cNvSpPr>
              <a:spLocks noChangeArrowheads="1"/>
            </p:cNvSpPr>
            <p:nvPr/>
          </p:nvSpPr>
          <p:spPr bwMode="auto">
            <a:xfrm>
              <a:off x="3008313" y="4165601"/>
              <a:ext cx="1031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1" name="Rectangle 351"/>
            <p:cNvSpPr>
              <a:spLocks noChangeArrowheads="1"/>
            </p:cNvSpPr>
            <p:nvPr/>
          </p:nvSpPr>
          <p:spPr bwMode="auto">
            <a:xfrm>
              <a:off x="2825751" y="3940176"/>
              <a:ext cx="10636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2" name="Rectangle 352"/>
            <p:cNvSpPr>
              <a:spLocks noChangeArrowheads="1"/>
            </p:cNvSpPr>
            <p:nvPr/>
          </p:nvSpPr>
          <p:spPr bwMode="auto">
            <a:xfrm>
              <a:off x="2660651" y="3940176"/>
              <a:ext cx="1127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3" name="Rectangle 353"/>
            <p:cNvSpPr>
              <a:spLocks noChangeArrowheads="1"/>
            </p:cNvSpPr>
            <p:nvPr/>
          </p:nvSpPr>
          <p:spPr bwMode="auto">
            <a:xfrm>
              <a:off x="2984501" y="3940176"/>
              <a:ext cx="1555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4" name="Rectangle 354"/>
            <p:cNvSpPr>
              <a:spLocks noChangeArrowheads="1"/>
            </p:cNvSpPr>
            <p:nvPr/>
          </p:nvSpPr>
          <p:spPr bwMode="auto">
            <a:xfrm>
              <a:off x="3192463" y="3940176"/>
              <a:ext cx="1047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5" name="Rectangle 355"/>
            <p:cNvSpPr>
              <a:spLocks noChangeArrowheads="1"/>
            </p:cNvSpPr>
            <p:nvPr/>
          </p:nvSpPr>
          <p:spPr bwMode="auto">
            <a:xfrm>
              <a:off x="3348038" y="3940176"/>
              <a:ext cx="7778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6" name="Rectangle 356"/>
            <p:cNvSpPr>
              <a:spLocks noChangeArrowheads="1"/>
            </p:cNvSpPr>
            <p:nvPr/>
          </p:nvSpPr>
          <p:spPr bwMode="auto">
            <a:xfrm>
              <a:off x="2852738" y="4052888"/>
              <a:ext cx="16033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7" name="Rectangle 357"/>
            <p:cNvSpPr>
              <a:spLocks noChangeArrowheads="1"/>
            </p:cNvSpPr>
            <p:nvPr/>
          </p:nvSpPr>
          <p:spPr bwMode="auto">
            <a:xfrm>
              <a:off x="2660651" y="4052888"/>
              <a:ext cx="1381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8" name="Rectangle 358"/>
            <p:cNvSpPr>
              <a:spLocks noChangeArrowheads="1"/>
            </p:cNvSpPr>
            <p:nvPr/>
          </p:nvSpPr>
          <p:spPr bwMode="auto">
            <a:xfrm>
              <a:off x="3063876" y="4052888"/>
              <a:ext cx="7302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Rectangle 359"/>
            <p:cNvSpPr>
              <a:spLocks noChangeArrowheads="1"/>
            </p:cNvSpPr>
            <p:nvPr/>
          </p:nvSpPr>
          <p:spPr bwMode="auto">
            <a:xfrm>
              <a:off x="3189288" y="4052888"/>
              <a:ext cx="1301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0" name="Rectangle 360"/>
            <p:cNvSpPr>
              <a:spLocks noChangeArrowheads="1"/>
            </p:cNvSpPr>
            <p:nvPr/>
          </p:nvSpPr>
          <p:spPr bwMode="auto">
            <a:xfrm>
              <a:off x="3371851" y="4052888"/>
              <a:ext cx="539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1" name="Rectangle 361"/>
            <p:cNvSpPr>
              <a:spLocks noChangeArrowheads="1"/>
            </p:cNvSpPr>
            <p:nvPr/>
          </p:nvSpPr>
          <p:spPr bwMode="auto">
            <a:xfrm>
              <a:off x="2876551" y="371475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2" name="Rectangle 362"/>
            <p:cNvSpPr>
              <a:spLocks noChangeArrowheads="1"/>
            </p:cNvSpPr>
            <p:nvPr/>
          </p:nvSpPr>
          <p:spPr bwMode="auto">
            <a:xfrm>
              <a:off x="2660651" y="371475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3" name="Rectangle 363"/>
            <p:cNvSpPr>
              <a:spLocks noChangeArrowheads="1"/>
            </p:cNvSpPr>
            <p:nvPr/>
          </p:nvSpPr>
          <p:spPr bwMode="auto">
            <a:xfrm>
              <a:off x="3008313" y="3714751"/>
              <a:ext cx="1571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4" name="Rectangle 364"/>
            <p:cNvSpPr>
              <a:spLocks noChangeArrowheads="1"/>
            </p:cNvSpPr>
            <p:nvPr/>
          </p:nvSpPr>
          <p:spPr bwMode="auto">
            <a:xfrm>
              <a:off x="3217863" y="3714751"/>
              <a:ext cx="2079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5" name="Freeform 365"/>
            <p:cNvSpPr>
              <a:spLocks noEditPoints="1"/>
            </p:cNvSpPr>
            <p:nvPr/>
          </p:nvSpPr>
          <p:spPr bwMode="auto">
            <a:xfrm>
              <a:off x="2660651" y="4165601"/>
              <a:ext cx="820738" cy="317500"/>
            </a:xfrm>
            <a:custGeom>
              <a:avLst/>
              <a:gdLst>
                <a:gd name="T0" fmla="*/ 456 w 527"/>
                <a:gd name="T1" fmla="*/ 128 h 204"/>
                <a:gd name="T2" fmla="*/ 432 w 527"/>
                <a:gd name="T3" fmla="*/ 104 h 204"/>
                <a:gd name="T4" fmla="*/ 456 w 527"/>
                <a:gd name="T5" fmla="*/ 80 h 204"/>
                <a:gd name="T6" fmla="*/ 480 w 527"/>
                <a:gd name="T7" fmla="*/ 104 h 204"/>
                <a:gd name="T8" fmla="*/ 456 w 527"/>
                <a:gd name="T9" fmla="*/ 128 h 204"/>
                <a:gd name="T10" fmla="*/ 432 w 527"/>
                <a:gd name="T11" fmla="*/ 3 h 204"/>
                <a:gd name="T12" fmla="*/ 328 w 527"/>
                <a:gd name="T13" fmla="*/ 75 h 204"/>
                <a:gd name="T14" fmla="*/ 324 w 527"/>
                <a:gd name="T15" fmla="*/ 79 h 204"/>
                <a:gd name="T16" fmla="*/ 5 w 527"/>
                <a:gd name="T17" fmla="*/ 79 h 204"/>
                <a:gd name="T18" fmla="*/ 0 w 527"/>
                <a:gd name="T19" fmla="*/ 83 h 204"/>
                <a:gd name="T20" fmla="*/ 0 w 527"/>
                <a:gd name="T21" fmla="*/ 168 h 204"/>
                <a:gd name="T22" fmla="*/ 5 w 527"/>
                <a:gd name="T23" fmla="*/ 173 h 204"/>
                <a:gd name="T24" fmla="*/ 45 w 527"/>
                <a:gd name="T25" fmla="*/ 173 h 204"/>
                <a:gd name="T26" fmla="*/ 50 w 527"/>
                <a:gd name="T27" fmla="*/ 168 h 204"/>
                <a:gd name="T28" fmla="*/ 50 w 527"/>
                <a:gd name="T29" fmla="*/ 133 h 204"/>
                <a:gd name="T30" fmla="*/ 55 w 527"/>
                <a:gd name="T31" fmla="*/ 129 h 204"/>
                <a:gd name="T32" fmla="*/ 84 w 527"/>
                <a:gd name="T33" fmla="*/ 129 h 204"/>
                <a:gd name="T34" fmla="*/ 89 w 527"/>
                <a:gd name="T35" fmla="*/ 133 h 204"/>
                <a:gd name="T36" fmla="*/ 89 w 527"/>
                <a:gd name="T37" fmla="*/ 170 h 204"/>
                <a:gd name="T38" fmla="*/ 94 w 527"/>
                <a:gd name="T39" fmla="*/ 175 h 204"/>
                <a:gd name="T40" fmla="*/ 134 w 527"/>
                <a:gd name="T41" fmla="*/ 175 h 204"/>
                <a:gd name="T42" fmla="*/ 139 w 527"/>
                <a:gd name="T43" fmla="*/ 170 h 204"/>
                <a:gd name="T44" fmla="*/ 139 w 527"/>
                <a:gd name="T45" fmla="*/ 133 h 204"/>
                <a:gd name="T46" fmla="*/ 144 w 527"/>
                <a:gd name="T47" fmla="*/ 129 h 204"/>
                <a:gd name="T48" fmla="*/ 324 w 527"/>
                <a:gd name="T49" fmla="*/ 129 h 204"/>
                <a:gd name="T50" fmla="*/ 328 w 527"/>
                <a:gd name="T51" fmla="*/ 132 h 204"/>
                <a:gd name="T52" fmla="*/ 425 w 527"/>
                <a:gd name="T53" fmla="*/ 204 h 204"/>
                <a:gd name="T54" fmla="*/ 526 w 527"/>
                <a:gd name="T55" fmla="*/ 102 h 204"/>
                <a:gd name="T56" fmla="*/ 432 w 527"/>
                <a:gd name="T57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7" h="204">
                  <a:moveTo>
                    <a:pt x="456" y="128"/>
                  </a:moveTo>
                  <a:cubicBezTo>
                    <a:pt x="443" y="128"/>
                    <a:pt x="432" y="117"/>
                    <a:pt x="432" y="104"/>
                  </a:cubicBezTo>
                  <a:cubicBezTo>
                    <a:pt x="432" y="90"/>
                    <a:pt x="443" y="80"/>
                    <a:pt x="456" y="80"/>
                  </a:cubicBezTo>
                  <a:cubicBezTo>
                    <a:pt x="469" y="80"/>
                    <a:pt x="480" y="90"/>
                    <a:pt x="480" y="104"/>
                  </a:cubicBezTo>
                  <a:cubicBezTo>
                    <a:pt x="480" y="117"/>
                    <a:pt x="469" y="128"/>
                    <a:pt x="456" y="128"/>
                  </a:cubicBezTo>
                  <a:close/>
                  <a:moveTo>
                    <a:pt x="432" y="3"/>
                  </a:moveTo>
                  <a:cubicBezTo>
                    <a:pt x="383" y="0"/>
                    <a:pt x="341" y="31"/>
                    <a:pt x="328" y="75"/>
                  </a:cubicBezTo>
                  <a:cubicBezTo>
                    <a:pt x="328" y="77"/>
                    <a:pt x="326" y="79"/>
                    <a:pt x="324" y="79"/>
                  </a:cubicBezTo>
                  <a:lnTo>
                    <a:pt x="5" y="79"/>
                  </a:lnTo>
                  <a:cubicBezTo>
                    <a:pt x="2" y="79"/>
                    <a:pt x="0" y="81"/>
                    <a:pt x="0" y="83"/>
                  </a:cubicBezTo>
                  <a:lnTo>
                    <a:pt x="0" y="168"/>
                  </a:lnTo>
                  <a:cubicBezTo>
                    <a:pt x="0" y="171"/>
                    <a:pt x="2" y="173"/>
                    <a:pt x="5" y="173"/>
                  </a:cubicBezTo>
                  <a:lnTo>
                    <a:pt x="45" y="173"/>
                  </a:lnTo>
                  <a:cubicBezTo>
                    <a:pt x="48" y="173"/>
                    <a:pt x="50" y="171"/>
                    <a:pt x="50" y="168"/>
                  </a:cubicBezTo>
                  <a:lnTo>
                    <a:pt x="50" y="133"/>
                  </a:lnTo>
                  <a:cubicBezTo>
                    <a:pt x="50" y="131"/>
                    <a:pt x="52" y="129"/>
                    <a:pt x="55" y="129"/>
                  </a:cubicBezTo>
                  <a:lnTo>
                    <a:pt x="84" y="129"/>
                  </a:lnTo>
                  <a:cubicBezTo>
                    <a:pt x="87" y="129"/>
                    <a:pt x="89" y="131"/>
                    <a:pt x="89" y="133"/>
                  </a:cubicBezTo>
                  <a:lnTo>
                    <a:pt x="89" y="170"/>
                  </a:lnTo>
                  <a:cubicBezTo>
                    <a:pt x="89" y="173"/>
                    <a:pt x="91" y="175"/>
                    <a:pt x="94" y="175"/>
                  </a:cubicBezTo>
                  <a:lnTo>
                    <a:pt x="134" y="175"/>
                  </a:lnTo>
                  <a:cubicBezTo>
                    <a:pt x="137" y="175"/>
                    <a:pt x="139" y="173"/>
                    <a:pt x="139" y="170"/>
                  </a:cubicBezTo>
                  <a:lnTo>
                    <a:pt x="139" y="133"/>
                  </a:lnTo>
                  <a:cubicBezTo>
                    <a:pt x="139" y="131"/>
                    <a:pt x="141" y="129"/>
                    <a:pt x="144" y="129"/>
                  </a:cubicBezTo>
                  <a:lnTo>
                    <a:pt x="324" y="129"/>
                  </a:lnTo>
                  <a:cubicBezTo>
                    <a:pt x="326" y="129"/>
                    <a:pt x="328" y="130"/>
                    <a:pt x="328" y="132"/>
                  </a:cubicBezTo>
                  <a:cubicBezTo>
                    <a:pt x="341" y="174"/>
                    <a:pt x="379" y="204"/>
                    <a:pt x="425" y="204"/>
                  </a:cubicBezTo>
                  <a:cubicBezTo>
                    <a:pt x="481" y="204"/>
                    <a:pt x="527" y="159"/>
                    <a:pt x="526" y="102"/>
                  </a:cubicBezTo>
                  <a:cubicBezTo>
                    <a:pt x="525" y="51"/>
                    <a:pt x="484" y="7"/>
                    <a:pt x="4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6" name="Rectangle 366"/>
            <p:cNvSpPr>
              <a:spLocks noChangeArrowheads="1"/>
            </p:cNvSpPr>
            <p:nvPr/>
          </p:nvSpPr>
          <p:spPr bwMode="auto">
            <a:xfrm>
              <a:off x="3128963" y="3827463"/>
              <a:ext cx="79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7" name="Rectangle 367"/>
            <p:cNvSpPr>
              <a:spLocks noChangeArrowheads="1"/>
            </p:cNvSpPr>
            <p:nvPr/>
          </p:nvSpPr>
          <p:spPr bwMode="auto">
            <a:xfrm>
              <a:off x="3260726" y="3827463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8" name="Rectangle 368"/>
            <p:cNvSpPr>
              <a:spLocks noChangeArrowheads="1"/>
            </p:cNvSpPr>
            <p:nvPr/>
          </p:nvSpPr>
          <p:spPr bwMode="auto">
            <a:xfrm>
              <a:off x="2919413" y="3827463"/>
              <a:ext cx="15875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9" name="Rectangle 369"/>
            <p:cNvSpPr>
              <a:spLocks noChangeArrowheads="1"/>
            </p:cNvSpPr>
            <p:nvPr/>
          </p:nvSpPr>
          <p:spPr bwMode="auto">
            <a:xfrm>
              <a:off x="2660651" y="3827463"/>
              <a:ext cx="206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7849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ntroduction : le triangle de la recherche</a:t>
            </a:r>
            <a:endParaRPr lang="fr-FR" dirty="0"/>
          </a:p>
        </p:txBody>
      </p:sp>
      <p:sp>
        <p:nvSpPr>
          <p:cNvPr id="7" name="Espace réservé du contenu 6"/>
          <p:cNvSpPr>
            <a:spLocks noGrp="1"/>
          </p:cNvSpPr>
          <p:nvPr>
            <p:ph idx="1"/>
          </p:nvPr>
        </p:nvSpPr>
        <p:spPr>
          <a:xfrm>
            <a:off x="838200" y="1690688"/>
            <a:ext cx="10515600" cy="4530725"/>
          </a:xfrm>
        </p:spPr>
        <p:txBody>
          <a:bodyPr>
            <a:normAutofit/>
          </a:bodyPr>
          <a:lstStyle/>
          <a:p>
            <a:r>
              <a:rPr lang="fr-FR" dirty="0"/>
              <a:t> Quelques </a:t>
            </a:r>
            <a:r>
              <a:rPr lang="fr-FR" dirty="0" smtClean="0"/>
              <a:t>méthodes </a:t>
            </a:r>
            <a:r>
              <a:rPr lang="fr-FR" dirty="0"/>
              <a:t>(heuristiques) de recherche</a:t>
            </a:r>
          </a:p>
          <a:p>
            <a:pPr lvl="1"/>
            <a:r>
              <a:rPr lang="fr-FR" sz="2800" b="1" i="1" dirty="0" err="1"/>
              <a:t>Snowballing</a:t>
            </a:r>
            <a:r>
              <a:rPr lang="fr-FR" sz="2800" b="1" i="1" dirty="0"/>
              <a:t>/</a:t>
            </a:r>
            <a:r>
              <a:rPr lang="fr-FR" sz="2800" b="1" i="1" dirty="0" err="1"/>
              <a:t>pearl</a:t>
            </a:r>
            <a:r>
              <a:rPr lang="fr-FR" sz="2800" b="1" i="1" dirty="0"/>
              <a:t> </a:t>
            </a:r>
            <a:r>
              <a:rPr lang="fr-FR" sz="2800" b="1" i="1" dirty="0" err="1"/>
              <a:t>growing</a:t>
            </a:r>
            <a:r>
              <a:rPr lang="fr-FR" sz="2800" b="1" i="1" dirty="0"/>
              <a:t> </a:t>
            </a:r>
            <a:r>
              <a:rPr lang="fr-FR" sz="2800" dirty="0"/>
              <a:t>: </a:t>
            </a:r>
            <a:r>
              <a:rPr lang="fr-FR" sz="2800" dirty="0" smtClean="0"/>
              <a:t>par exemple par la navigation </a:t>
            </a:r>
            <a:r>
              <a:rPr lang="fr-FR" sz="2800" dirty="0"/>
              <a:t>dans les liens de </a:t>
            </a:r>
            <a:r>
              <a:rPr lang="fr-FR" sz="2800" dirty="0" smtClean="0"/>
              <a:t>citation, manuellement ou avec l’assistance de services comme </a:t>
            </a:r>
            <a:r>
              <a:rPr lang="fr-FR" sz="2800" dirty="0" smtClean="0">
                <a:hlinkClick r:id="rId3"/>
              </a:rPr>
              <a:t>Citation Gecko</a:t>
            </a:r>
            <a:endParaRPr lang="fr-FR" sz="2800" dirty="0" smtClean="0"/>
          </a:p>
          <a:p>
            <a:pPr lvl="1"/>
            <a:r>
              <a:rPr lang="fr-FR" sz="2800" b="1" i="1" dirty="0" err="1" smtClean="0"/>
              <a:t>Handsearching</a:t>
            </a:r>
            <a:r>
              <a:rPr lang="fr-FR" sz="2800" dirty="0" smtClean="0"/>
              <a:t> : recherche manuelle systématique </a:t>
            </a:r>
          </a:p>
          <a:p>
            <a:pPr lvl="1"/>
            <a:r>
              <a:rPr lang="fr-FR" sz="2800" b="1" i="1" dirty="0" smtClean="0"/>
              <a:t>(</a:t>
            </a:r>
            <a:r>
              <a:rPr lang="fr-FR" sz="2800" b="1" i="1" dirty="0"/>
              <a:t>Post-</a:t>
            </a:r>
            <a:r>
              <a:rPr lang="fr-FR" sz="2800" b="1" i="1" dirty="0" err="1"/>
              <a:t>query</a:t>
            </a:r>
            <a:r>
              <a:rPr lang="fr-FR" sz="2800" b="1" i="1" dirty="0"/>
              <a:t>) </a:t>
            </a:r>
            <a:r>
              <a:rPr lang="fr-FR" sz="2800" b="1" i="1" dirty="0" err="1"/>
              <a:t>filtering</a:t>
            </a:r>
            <a:r>
              <a:rPr lang="fr-FR" sz="2800" b="1" i="1" dirty="0"/>
              <a:t> </a:t>
            </a:r>
            <a:r>
              <a:rPr lang="fr-FR" sz="2800" dirty="0"/>
              <a:t>: </a:t>
            </a:r>
            <a:r>
              <a:rPr lang="fr-FR" sz="2800" dirty="0" smtClean="0"/>
              <a:t>certaines bases de données proposent des filtres facilitant ce tri a posteriori</a:t>
            </a:r>
            <a:endParaRPr lang="fr-FR" sz="2800" dirty="0"/>
          </a:p>
          <a:p>
            <a:pPr lvl="1"/>
            <a:r>
              <a:rPr lang="fr-FR" sz="2800" b="1" i="1" dirty="0"/>
              <a:t>Building blocks </a:t>
            </a:r>
            <a:r>
              <a:rPr lang="fr-FR" sz="2800" dirty="0"/>
              <a:t>: équation de recherche avec opérateurs booléens</a:t>
            </a:r>
          </a:p>
          <a:p>
            <a:r>
              <a:rPr lang="fr-FR" dirty="0" smtClean="0"/>
              <a:t> Aujourd’hui nous insistons plus particulièrement sur cette dernière méthod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8838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éthode de la recherche documentai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Du </a:t>
            </a:r>
            <a:r>
              <a:rPr lang="fr-FR" dirty="0"/>
              <a:t>sujet en langage naturel à l’équation de </a:t>
            </a:r>
            <a:r>
              <a:rPr lang="fr-FR" dirty="0" smtClean="0"/>
              <a:t>recherche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F. Flamerie - Recherche doc - 2022-05-03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5</a:t>
            </a:fld>
            <a:endParaRPr lang="fr-FR" dirty="0"/>
          </a:p>
        </p:txBody>
      </p:sp>
      <p:grpSp>
        <p:nvGrpSpPr>
          <p:cNvPr id="7" name="Keywords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9539875" y="450744"/>
            <a:ext cx="2404788" cy="2251289"/>
            <a:chOff x="2660651" y="3714751"/>
            <a:chExt cx="820738" cy="768350"/>
          </a:xfrm>
          <a:solidFill>
            <a:schemeClr val="accent2"/>
          </a:solidFill>
        </p:grpSpPr>
        <p:sp>
          <p:nvSpPr>
            <p:cNvPr id="10" name="Rectangle 348"/>
            <p:cNvSpPr>
              <a:spLocks noChangeArrowheads="1"/>
            </p:cNvSpPr>
            <p:nvPr/>
          </p:nvSpPr>
          <p:spPr bwMode="auto">
            <a:xfrm>
              <a:off x="2789238" y="416560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1" name="Rectangle 349"/>
            <p:cNvSpPr>
              <a:spLocks noChangeArrowheads="1"/>
            </p:cNvSpPr>
            <p:nvPr/>
          </p:nvSpPr>
          <p:spPr bwMode="auto">
            <a:xfrm>
              <a:off x="2660651" y="416560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2" name="Rectangle 350"/>
            <p:cNvSpPr>
              <a:spLocks noChangeArrowheads="1"/>
            </p:cNvSpPr>
            <p:nvPr/>
          </p:nvSpPr>
          <p:spPr bwMode="auto">
            <a:xfrm>
              <a:off x="3008313" y="4165601"/>
              <a:ext cx="1031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3" name="Rectangle 351"/>
            <p:cNvSpPr>
              <a:spLocks noChangeArrowheads="1"/>
            </p:cNvSpPr>
            <p:nvPr/>
          </p:nvSpPr>
          <p:spPr bwMode="auto">
            <a:xfrm>
              <a:off x="2825751" y="3940176"/>
              <a:ext cx="10636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4" name="Rectangle 352"/>
            <p:cNvSpPr>
              <a:spLocks noChangeArrowheads="1"/>
            </p:cNvSpPr>
            <p:nvPr/>
          </p:nvSpPr>
          <p:spPr bwMode="auto">
            <a:xfrm>
              <a:off x="2660651" y="3940176"/>
              <a:ext cx="1127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5" name="Rectangle 353"/>
            <p:cNvSpPr>
              <a:spLocks noChangeArrowheads="1"/>
            </p:cNvSpPr>
            <p:nvPr/>
          </p:nvSpPr>
          <p:spPr bwMode="auto">
            <a:xfrm>
              <a:off x="2984501" y="3940176"/>
              <a:ext cx="1555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6" name="Rectangle 354"/>
            <p:cNvSpPr>
              <a:spLocks noChangeArrowheads="1"/>
            </p:cNvSpPr>
            <p:nvPr/>
          </p:nvSpPr>
          <p:spPr bwMode="auto">
            <a:xfrm>
              <a:off x="3192463" y="3940176"/>
              <a:ext cx="1047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7" name="Rectangle 355"/>
            <p:cNvSpPr>
              <a:spLocks noChangeArrowheads="1"/>
            </p:cNvSpPr>
            <p:nvPr/>
          </p:nvSpPr>
          <p:spPr bwMode="auto">
            <a:xfrm>
              <a:off x="3348038" y="3940176"/>
              <a:ext cx="7778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8" name="Rectangle 356"/>
            <p:cNvSpPr>
              <a:spLocks noChangeArrowheads="1"/>
            </p:cNvSpPr>
            <p:nvPr/>
          </p:nvSpPr>
          <p:spPr bwMode="auto">
            <a:xfrm>
              <a:off x="2852738" y="4052888"/>
              <a:ext cx="16033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Rectangle 357"/>
            <p:cNvSpPr>
              <a:spLocks noChangeArrowheads="1"/>
            </p:cNvSpPr>
            <p:nvPr/>
          </p:nvSpPr>
          <p:spPr bwMode="auto">
            <a:xfrm>
              <a:off x="2660651" y="4052888"/>
              <a:ext cx="1381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0" name="Rectangle 358"/>
            <p:cNvSpPr>
              <a:spLocks noChangeArrowheads="1"/>
            </p:cNvSpPr>
            <p:nvPr/>
          </p:nvSpPr>
          <p:spPr bwMode="auto">
            <a:xfrm>
              <a:off x="3063876" y="4052888"/>
              <a:ext cx="7302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1" name="Rectangle 359"/>
            <p:cNvSpPr>
              <a:spLocks noChangeArrowheads="1"/>
            </p:cNvSpPr>
            <p:nvPr/>
          </p:nvSpPr>
          <p:spPr bwMode="auto">
            <a:xfrm>
              <a:off x="3189288" y="4052888"/>
              <a:ext cx="1301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2" name="Rectangle 360"/>
            <p:cNvSpPr>
              <a:spLocks noChangeArrowheads="1"/>
            </p:cNvSpPr>
            <p:nvPr/>
          </p:nvSpPr>
          <p:spPr bwMode="auto">
            <a:xfrm>
              <a:off x="3371851" y="4052888"/>
              <a:ext cx="539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3" name="Rectangle 361"/>
            <p:cNvSpPr>
              <a:spLocks noChangeArrowheads="1"/>
            </p:cNvSpPr>
            <p:nvPr/>
          </p:nvSpPr>
          <p:spPr bwMode="auto">
            <a:xfrm>
              <a:off x="2876551" y="371475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4" name="Rectangle 362"/>
            <p:cNvSpPr>
              <a:spLocks noChangeArrowheads="1"/>
            </p:cNvSpPr>
            <p:nvPr/>
          </p:nvSpPr>
          <p:spPr bwMode="auto">
            <a:xfrm>
              <a:off x="2660651" y="371475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5" name="Rectangle 363"/>
            <p:cNvSpPr>
              <a:spLocks noChangeArrowheads="1"/>
            </p:cNvSpPr>
            <p:nvPr/>
          </p:nvSpPr>
          <p:spPr bwMode="auto">
            <a:xfrm>
              <a:off x="3008313" y="3714751"/>
              <a:ext cx="1571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6" name="Rectangle 364"/>
            <p:cNvSpPr>
              <a:spLocks noChangeArrowheads="1"/>
            </p:cNvSpPr>
            <p:nvPr/>
          </p:nvSpPr>
          <p:spPr bwMode="auto">
            <a:xfrm>
              <a:off x="3217863" y="3714751"/>
              <a:ext cx="2079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7" name="Freeform 365"/>
            <p:cNvSpPr>
              <a:spLocks noEditPoints="1"/>
            </p:cNvSpPr>
            <p:nvPr/>
          </p:nvSpPr>
          <p:spPr bwMode="auto">
            <a:xfrm>
              <a:off x="2660651" y="4165601"/>
              <a:ext cx="820738" cy="317500"/>
            </a:xfrm>
            <a:custGeom>
              <a:avLst/>
              <a:gdLst>
                <a:gd name="T0" fmla="*/ 456 w 527"/>
                <a:gd name="T1" fmla="*/ 128 h 204"/>
                <a:gd name="T2" fmla="*/ 432 w 527"/>
                <a:gd name="T3" fmla="*/ 104 h 204"/>
                <a:gd name="T4" fmla="*/ 456 w 527"/>
                <a:gd name="T5" fmla="*/ 80 h 204"/>
                <a:gd name="T6" fmla="*/ 480 w 527"/>
                <a:gd name="T7" fmla="*/ 104 h 204"/>
                <a:gd name="T8" fmla="*/ 456 w 527"/>
                <a:gd name="T9" fmla="*/ 128 h 204"/>
                <a:gd name="T10" fmla="*/ 432 w 527"/>
                <a:gd name="T11" fmla="*/ 3 h 204"/>
                <a:gd name="T12" fmla="*/ 328 w 527"/>
                <a:gd name="T13" fmla="*/ 75 h 204"/>
                <a:gd name="T14" fmla="*/ 324 w 527"/>
                <a:gd name="T15" fmla="*/ 79 h 204"/>
                <a:gd name="T16" fmla="*/ 5 w 527"/>
                <a:gd name="T17" fmla="*/ 79 h 204"/>
                <a:gd name="T18" fmla="*/ 0 w 527"/>
                <a:gd name="T19" fmla="*/ 83 h 204"/>
                <a:gd name="T20" fmla="*/ 0 w 527"/>
                <a:gd name="T21" fmla="*/ 168 h 204"/>
                <a:gd name="T22" fmla="*/ 5 w 527"/>
                <a:gd name="T23" fmla="*/ 173 h 204"/>
                <a:gd name="T24" fmla="*/ 45 w 527"/>
                <a:gd name="T25" fmla="*/ 173 h 204"/>
                <a:gd name="T26" fmla="*/ 50 w 527"/>
                <a:gd name="T27" fmla="*/ 168 h 204"/>
                <a:gd name="T28" fmla="*/ 50 w 527"/>
                <a:gd name="T29" fmla="*/ 133 h 204"/>
                <a:gd name="T30" fmla="*/ 55 w 527"/>
                <a:gd name="T31" fmla="*/ 129 h 204"/>
                <a:gd name="T32" fmla="*/ 84 w 527"/>
                <a:gd name="T33" fmla="*/ 129 h 204"/>
                <a:gd name="T34" fmla="*/ 89 w 527"/>
                <a:gd name="T35" fmla="*/ 133 h 204"/>
                <a:gd name="T36" fmla="*/ 89 w 527"/>
                <a:gd name="T37" fmla="*/ 170 h 204"/>
                <a:gd name="T38" fmla="*/ 94 w 527"/>
                <a:gd name="T39" fmla="*/ 175 h 204"/>
                <a:gd name="T40" fmla="*/ 134 w 527"/>
                <a:gd name="T41" fmla="*/ 175 h 204"/>
                <a:gd name="T42" fmla="*/ 139 w 527"/>
                <a:gd name="T43" fmla="*/ 170 h 204"/>
                <a:gd name="T44" fmla="*/ 139 w 527"/>
                <a:gd name="T45" fmla="*/ 133 h 204"/>
                <a:gd name="T46" fmla="*/ 144 w 527"/>
                <a:gd name="T47" fmla="*/ 129 h 204"/>
                <a:gd name="T48" fmla="*/ 324 w 527"/>
                <a:gd name="T49" fmla="*/ 129 h 204"/>
                <a:gd name="T50" fmla="*/ 328 w 527"/>
                <a:gd name="T51" fmla="*/ 132 h 204"/>
                <a:gd name="T52" fmla="*/ 425 w 527"/>
                <a:gd name="T53" fmla="*/ 204 h 204"/>
                <a:gd name="T54" fmla="*/ 526 w 527"/>
                <a:gd name="T55" fmla="*/ 102 h 204"/>
                <a:gd name="T56" fmla="*/ 432 w 527"/>
                <a:gd name="T57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7" h="204">
                  <a:moveTo>
                    <a:pt x="456" y="128"/>
                  </a:moveTo>
                  <a:cubicBezTo>
                    <a:pt x="443" y="128"/>
                    <a:pt x="432" y="117"/>
                    <a:pt x="432" y="104"/>
                  </a:cubicBezTo>
                  <a:cubicBezTo>
                    <a:pt x="432" y="90"/>
                    <a:pt x="443" y="80"/>
                    <a:pt x="456" y="80"/>
                  </a:cubicBezTo>
                  <a:cubicBezTo>
                    <a:pt x="469" y="80"/>
                    <a:pt x="480" y="90"/>
                    <a:pt x="480" y="104"/>
                  </a:cubicBezTo>
                  <a:cubicBezTo>
                    <a:pt x="480" y="117"/>
                    <a:pt x="469" y="128"/>
                    <a:pt x="456" y="128"/>
                  </a:cubicBezTo>
                  <a:close/>
                  <a:moveTo>
                    <a:pt x="432" y="3"/>
                  </a:moveTo>
                  <a:cubicBezTo>
                    <a:pt x="383" y="0"/>
                    <a:pt x="341" y="31"/>
                    <a:pt x="328" y="75"/>
                  </a:cubicBezTo>
                  <a:cubicBezTo>
                    <a:pt x="328" y="77"/>
                    <a:pt x="326" y="79"/>
                    <a:pt x="324" y="79"/>
                  </a:cubicBezTo>
                  <a:lnTo>
                    <a:pt x="5" y="79"/>
                  </a:lnTo>
                  <a:cubicBezTo>
                    <a:pt x="2" y="79"/>
                    <a:pt x="0" y="81"/>
                    <a:pt x="0" y="83"/>
                  </a:cubicBezTo>
                  <a:lnTo>
                    <a:pt x="0" y="168"/>
                  </a:lnTo>
                  <a:cubicBezTo>
                    <a:pt x="0" y="171"/>
                    <a:pt x="2" y="173"/>
                    <a:pt x="5" y="173"/>
                  </a:cubicBezTo>
                  <a:lnTo>
                    <a:pt x="45" y="173"/>
                  </a:lnTo>
                  <a:cubicBezTo>
                    <a:pt x="48" y="173"/>
                    <a:pt x="50" y="171"/>
                    <a:pt x="50" y="168"/>
                  </a:cubicBezTo>
                  <a:lnTo>
                    <a:pt x="50" y="133"/>
                  </a:lnTo>
                  <a:cubicBezTo>
                    <a:pt x="50" y="131"/>
                    <a:pt x="52" y="129"/>
                    <a:pt x="55" y="129"/>
                  </a:cubicBezTo>
                  <a:lnTo>
                    <a:pt x="84" y="129"/>
                  </a:lnTo>
                  <a:cubicBezTo>
                    <a:pt x="87" y="129"/>
                    <a:pt x="89" y="131"/>
                    <a:pt x="89" y="133"/>
                  </a:cubicBezTo>
                  <a:lnTo>
                    <a:pt x="89" y="170"/>
                  </a:lnTo>
                  <a:cubicBezTo>
                    <a:pt x="89" y="173"/>
                    <a:pt x="91" y="175"/>
                    <a:pt x="94" y="175"/>
                  </a:cubicBezTo>
                  <a:lnTo>
                    <a:pt x="134" y="175"/>
                  </a:lnTo>
                  <a:cubicBezTo>
                    <a:pt x="137" y="175"/>
                    <a:pt x="139" y="173"/>
                    <a:pt x="139" y="170"/>
                  </a:cubicBezTo>
                  <a:lnTo>
                    <a:pt x="139" y="133"/>
                  </a:lnTo>
                  <a:cubicBezTo>
                    <a:pt x="139" y="131"/>
                    <a:pt x="141" y="129"/>
                    <a:pt x="144" y="129"/>
                  </a:cubicBezTo>
                  <a:lnTo>
                    <a:pt x="324" y="129"/>
                  </a:lnTo>
                  <a:cubicBezTo>
                    <a:pt x="326" y="129"/>
                    <a:pt x="328" y="130"/>
                    <a:pt x="328" y="132"/>
                  </a:cubicBezTo>
                  <a:cubicBezTo>
                    <a:pt x="341" y="174"/>
                    <a:pt x="379" y="204"/>
                    <a:pt x="425" y="204"/>
                  </a:cubicBezTo>
                  <a:cubicBezTo>
                    <a:pt x="481" y="204"/>
                    <a:pt x="527" y="159"/>
                    <a:pt x="526" y="102"/>
                  </a:cubicBezTo>
                  <a:cubicBezTo>
                    <a:pt x="525" y="51"/>
                    <a:pt x="484" y="7"/>
                    <a:pt x="4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8" name="Rectangle 366"/>
            <p:cNvSpPr>
              <a:spLocks noChangeArrowheads="1"/>
            </p:cNvSpPr>
            <p:nvPr/>
          </p:nvSpPr>
          <p:spPr bwMode="auto">
            <a:xfrm>
              <a:off x="3128963" y="3827463"/>
              <a:ext cx="79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9" name="Rectangle 367"/>
            <p:cNvSpPr>
              <a:spLocks noChangeArrowheads="1"/>
            </p:cNvSpPr>
            <p:nvPr/>
          </p:nvSpPr>
          <p:spPr bwMode="auto">
            <a:xfrm>
              <a:off x="3260726" y="3827463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30" name="Rectangle 368"/>
            <p:cNvSpPr>
              <a:spLocks noChangeArrowheads="1"/>
            </p:cNvSpPr>
            <p:nvPr/>
          </p:nvSpPr>
          <p:spPr bwMode="auto">
            <a:xfrm>
              <a:off x="2919413" y="3827463"/>
              <a:ext cx="15875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31" name="Rectangle 369"/>
            <p:cNvSpPr>
              <a:spLocks noChangeArrowheads="1"/>
            </p:cNvSpPr>
            <p:nvPr/>
          </p:nvSpPr>
          <p:spPr bwMode="auto">
            <a:xfrm>
              <a:off x="2660651" y="3827463"/>
              <a:ext cx="206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09708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Text Box 5"/>
          <p:cNvSpPr txBox="1">
            <a:spLocks noChangeArrowheads="1"/>
          </p:cNvSpPr>
          <p:nvPr/>
        </p:nvSpPr>
        <p:spPr bwMode="auto">
          <a:xfrm>
            <a:off x="923364" y="286872"/>
            <a:ext cx="9144000" cy="1311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u </a:t>
            </a:r>
            <a:r>
              <a:rPr lang="fr-FR" sz="4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ngage naturel à l’esperanto documentaire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705829" y="1760046"/>
            <a:ext cx="11065625" cy="4792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latin typeface="Corbel" panose="020B0503020204020204" pitchFamily="34" charset="0"/>
              </a:rPr>
              <a:t>La démarche consiste à traduire une phrase en </a:t>
            </a:r>
            <a:r>
              <a:rPr lang="fr-FR" sz="2400" dirty="0">
                <a:solidFill>
                  <a:srgbClr val="009DE0"/>
                </a:solidFill>
                <a:latin typeface="Corbel" panose="020B0503020204020204" pitchFamily="34" charset="0"/>
              </a:rPr>
              <a:t>langage naturel </a:t>
            </a:r>
            <a:r>
              <a:rPr lang="fr-FR" sz="2400" dirty="0">
                <a:latin typeface="Corbel" panose="020B0503020204020204" pitchFamily="34" charset="0"/>
              </a:rPr>
              <a:t>telle que la suivante :</a:t>
            </a:r>
          </a:p>
          <a:p>
            <a:endParaRPr lang="fr-FR" sz="2400" dirty="0">
              <a:latin typeface="Corbel" panose="020B0503020204020204" pitchFamily="34" charset="0"/>
            </a:endParaRPr>
          </a:p>
          <a:p>
            <a:r>
              <a:rPr lang="fr-FR" sz="2800" dirty="0">
                <a:latin typeface="Corbel" panose="020B0503020204020204" pitchFamily="34" charset="0"/>
                <a:cs typeface="Calibri" panose="020F0502020204030204" pitchFamily="34" charset="0"/>
              </a:rPr>
              <a:t>Quel est l’impact de la cigarette électronique sur le tabagisme?</a:t>
            </a:r>
          </a:p>
          <a:p>
            <a:endParaRPr lang="fr-FR" sz="2400" dirty="0">
              <a:latin typeface="Corbel" panose="020B0503020204020204" pitchFamily="34" charset="0"/>
            </a:endParaRPr>
          </a:p>
          <a:p>
            <a:r>
              <a:rPr lang="fr-FR" sz="2400" dirty="0">
                <a:latin typeface="Corbel" panose="020B0503020204020204" pitchFamily="34" charset="0"/>
              </a:rPr>
              <a:t>en une phrase qui puisse être comprise par un outil de recherche documentaire, telle que celle-ci :</a:t>
            </a:r>
          </a:p>
          <a:p>
            <a:endParaRPr lang="fr-FR" sz="2400" dirty="0">
              <a:latin typeface="Corbel" panose="020B0503020204020204" pitchFamily="34" charset="0"/>
            </a:endParaRPr>
          </a:p>
          <a:p>
            <a:pPr defTabSz="800100">
              <a:lnSpc>
                <a:spcPct val="90000"/>
              </a:lnSpc>
              <a:spcAft>
                <a:spcPct val="35000"/>
              </a:spcAft>
            </a:pPr>
            <a:r>
              <a:rPr lang="fr-FR" sz="2800" dirty="0">
                <a:latin typeface="Corbel" panose="020B0503020204020204" pitchFamily="34" charset="0"/>
              </a:rPr>
              <a:t>("cigarette électronique" OU e-cigarette OU vapoter) ET (tabagisme OU "dépendance au tabac" OU tabaco-dépendance OU tabacodépendance OU "dépendance à la nicotine") </a:t>
            </a:r>
          </a:p>
          <a:p>
            <a:r>
              <a:rPr lang="fr-FR" sz="2800" dirty="0">
                <a:latin typeface="Corbel" panose="020B0503020204020204" pitchFamily="34" charset="0"/>
              </a:rPr>
              <a:t>-&gt; Quelles différences observez-vous entre les 2?</a:t>
            </a:r>
          </a:p>
          <a:p>
            <a:endParaRPr lang="fr-FR" sz="2000" dirty="0">
              <a:latin typeface="Corbel" panose="020B0503020204020204" pitchFamily="34" charset="0"/>
            </a:endParaRP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4294967295"/>
          </p:nvPr>
        </p:nvSpPr>
        <p:spPr>
          <a:xfrm>
            <a:off x="3935759" y="6403457"/>
            <a:ext cx="4072167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2-05-03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6844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Text Box 5"/>
          <p:cNvSpPr txBox="1">
            <a:spLocks noChangeArrowheads="1"/>
          </p:cNvSpPr>
          <p:nvPr/>
        </p:nvSpPr>
        <p:spPr bwMode="auto">
          <a:xfrm>
            <a:off x="648182" y="83814"/>
            <a:ext cx="11543818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u</a:t>
            </a:r>
            <a:r>
              <a:rPr lang="fr-FR" sz="3200" b="1" dirty="0" smtClean="0">
                <a:solidFill>
                  <a:srgbClr val="009DE0"/>
                </a:solidFill>
                <a:latin typeface="Corbel" panose="020B0503020204020204" pitchFamily="34" charset="0"/>
              </a:rPr>
              <a:t> </a:t>
            </a:r>
            <a:r>
              <a:rPr lang="fr-FR" sz="4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ngage naturel à </a:t>
            </a:r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’esperanto documentaire</a:t>
            </a:r>
            <a:endParaRPr lang="fr-FR" sz="4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537882" y="1530364"/>
            <a:ext cx="10972800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>
                <a:latin typeface="Corbel" panose="020B0503020204020204" pitchFamily="34" charset="0"/>
                <a:cs typeface="Calibri" panose="020F0502020204030204" pitchFamily="34" charset="0"/>
              </a:rPr>
              <a:t>Quel est l’impact de la cigarette électronique sur le tabagisme?</a:t>
            </a:r>
          </a:p>
          <a:p>
            <a:r>
              <a:rPr lang="fr-FR" sz="2000" dirty="0">
                <a:latin typeface="Corbel" panose="020B0503020204020204" pitchFamily="34" charset="0"/>
              </a:rPr>
              <a:t>-&gt;</a:t>
            </a:r>
          </a:p>
          <a:p>
            <a:r>
              <a:rPr lang="fr-FR" sz="2000" dirty="0">
                <a:latin typeface="Corbel" panose="020B0503020204020204" pitchFamily="34" charset="0"/>
              </a:rPr>
              <a:t>("cigarette électronique" OU e-cigarette OU vapotage OU vapoter) ET (tabagisme OU "dépendance au tabac" OU tabaco-dépendance OU tabacodépendance OU "dépendance à la nicotine") </a:t>
            </a:r>
          </a:p>
          <a:p>
            <a:endParaRPr lang="fr-FR" sz="2000" dirty="0">
              <a:latin typeface="Corbel" panose="020B0503020204020204" pitchFamily="34" charset="0"/>
            </a:endParaRPr>
          </a:p>
          <a:p>
            <a:r>
              <a:rPr lang="fr-FR" sz="2800" dirty="0">
                <a:latin typeface="Corbel" panose="020B0503020204020204" pitchFamily="34" charset="0"/>
              </a:rPr>
              <a:t>Comment passe-t-on de l’un à l’autre?</a:t>
            </a:r>
          </a:p>
          <a:p>
            <a:pPr marL="342900" indent="-342900">
              <a:buFont typeface="Calibri" panose="020F0502020204030204" pitchFamily="34" charset="0"/>
              <a:buChar char="→"/>
            </a:pPr>
            <a:r>
              <a:rPr lang="fr-FR" sz="2400" dirty="0">
                <a:solidFill>
                  <a:srgbClr val="009DE0"/>
                </a:solidFill>
                <a:latin typeface="Corbel" panose="020B0503020204020204" pitchFamily="34" charset="0"/>
              </a:rPr>
              <a:t>Réduction aux concepts clés </a:t>
            </a:r>
            <a:r>
              <a:rPr lang="fr-FR" sz="2400" dirty="0" smtClean="0">
                <a:latin typeface="Corbel" panose="020B0503020204020204" pitchFamily="34" charset="0"/>
              </a:rPr>
              <a:t>: </a:t>
            </a:r>
            <a:r>
              <a:rPr lang="fr-FR" sz="2400" dirty="0">
                <a:latin typeface="Corbel" panose="020B0503020204020204" pitchFamily="34" charset="0"/>
              </a:rPr>
              <a:t>analyser le sujet, identifier les concepts et les notions derrière les mots</a:t>
            </a:r>
          </a:p>
          <a:p>
            <a:pPr marL="342900" indent="-342900">
              <a:buFont typeface="Calibri" panose="020F0502020204030204" pitchFamily="34" charset="0"/>
              <a:buChar char="→"/>
            </a:pPr>
            <a:r>
              <a:rPr lang="fr-FR" sz="2400" dirty="0">
                <a:solidFill>
                  <a:srgbClr val="009DE0"/>
                </a:solidFill>
                <a:latin typeface="Corbel" panose="020B0503020204020204" pitchFamily="34" charset="0"/>
              </a:rPr>
              <a:t>Réduction des relations entre les termes à la logique booléenne</a:t>
            </a:r>
            <a:r>
              <a:rPr lang="fr-FR" sz="2400" dirty="0">
                <a:latin typeface="Corbel" panose="020B0503020204020204" pitchFamily="34" charset="0"/>
              </a:rPr>
              <a:t> </a:t>
            </a:r>
            <a:r>
              <a:rPr lang="fr-FR" sz="2400" dirty="0" smtClean="0">
                <a:latin typeface="Corbel" panose="020B0503020204020204" pitchFamily="34" charset="0"/>
              </a:rPr>
              <a:t>: </a:t>
            </a:r>
            <a:r>
              <a:rPr lang="fr-FR" sz="2400" dirty="0">
                <a:latin typeface="Corbel" panose="020B0503020204020204" pitchFamily="34" charset="0"/>
              </a:rPr>
              <a:t>éliminer les termes dont la signification peut être épuisée par OU ou ET, identifier des mots-clés pour les autres termes</a:t>
            </a:r>
          </a:p>
          <a:p>
            <a:pPr marL="342900" indent="-342900">
              <a:buFont typeface="Calibri" panose="020F0502020204030204" pitchFamily="34" charset="0"/>
              <a:buChar char="→"/>
            </a:pPr>
            <a:r>
              <a:rPr lang="fr-FR" sz="2400" dirty="0">
                <a:solidFill>
                  <a:srgbClr val="009DE0"/>
                </a:solidFill>
                <a:latin typeface="Corbel" panose="020B0503020204020204" pitchFamily="34" charset="0"/>
              </a:rPr>
              <a:t>Explicitation de l’implicite </a:t>
            </a:r>
            <a:r>
              <a:rPr lang="fr-FR" sz="2400" dirty="0" smtClean="0">
                <a:latin typeface="Corbel" panose="020B0503020204020204" pitchFamily="34" charset="0"/>
              </a:rPr>
              <a:t>: </a:t>
            </a:r>
            <a:r>
              <a:rPr lang="fr-FR" sz="2400" dirty="0">
                <a:latin typeface="Corbel" panose="020B0503020204020204" pitchFamily="34" charset="0"/>
              </a:rPr>
              <a:t>ajouter des synonymes, de variantes, marquer les chaînes de caractère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2-05-03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03375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92" name="Text Box 11"/>
          <p:cNvSpPr txBox="1">
            <a:spLocks noChangeArrowheads="1"/>
          </p:cNvSpPr>
          <p:nvPr/>
        </p:nvSpPr>
        <p:spPr bwMode="auto">
          <a:xfrm>
            <a:off x="969941" y="283296"/>
            <a:ext cx="9036050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cabulaire </a:t>
            </a:r>
            <a:r>
              <a:rPr lang="fr-FR" sz="4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trouver des mots-clé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969941" y="1384970"/>
            <a:ext cx="10209420" cy="515926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3200" dirty="0"/>
              <a:t>Ressources pour analyser un sujet et trouver des mots-clés</a:t>
            </a:r>
          </a:p>
          <a:p>
            <a:pPr lvl="0"/>
            <a:r>
              <a:rPr lang="fr-FR" sz="3200" b="1" dirty="0"/>
              <a:t>Dictionnaires</a:t>
            </a:r>
            <a:r>
              <a:rPr lang="fr-FR" sz="3200" dirty="0"/>
              <a:t> généralistes comme le </a:t>
            </a:r>
            <a:r>
              <a:rPr lang="fr-FR" sz="3200" b="1" u="sng" dirty="0">
                <a:hlinkClick r:id="rId3"/>
              </a:rPr>
              <a:t>Grand dictionnaire terminologique</a:t>
            </a:r>
            <a:r>
              <a:rPr lang="fr-FR" sz="3200" dirty="0"/>
              <a:t> [FR et EN] et/ou spécialisés comme le </a:t>
            </a:r>
            <a:r>
              <a:rPr lang="fr-FR" sz="3200" b="1" u="sng" dirty="0">
                <a:hlinkClick r:id="rId4"/>
              </a:rPr>
              <a:t>Dictionnaire médical de l'Académie de Médecine</a:t>
            </a:r>
            <a:r>
              <a:rPr lang="fr-FR" sz="3200" b="1" dirty="0"/>
              <a:t> </a:t>
            </a:r>
            <a:r>
              <a:rPr lang="fr-FR" sz="3200" dirty="0"/>
              <a:t>[FR]</a:t>
            </a:r>
          </a:p>
          <a:p>
            <a:pPr lvl="0"/>
            <a:r>
              <a:rPr lang="fr-FR" sz="3200" b="1" dirty="0"/>
              <a:t>Terminologies</a:t>
            </a:r>
            <a:r>
              <a:rPr lang="fr-FR" sz="3200" dirty="0"/>
              <a:t> spécialisées comme</a:t>
            </a:r>
            <a:r>
              <a:rPr lang="fr-FR" sz="3200" b="1" dirty="0"/>
              <a:t> </a:t>
            </a:r>
            <a:r>
              <a:rPr lang="fr-FR" sz="3200" dirty="0"/>
              <a:t>le </a:t>
            </a:r>
            <a:r>
              <a:rPr lang="fr-FR" sz="3200" b="1" u="sng" dirty="0">
                <a:hlinkClick r:id="rId5"/>
              </a:rPr>
              <a:t>Thésaurus Santé publique</a:t>
            </a:r>
            <a:r>
              <a:rPr lang="fr-FR" sz="3200" dirty="0"/>
              <a:t> [FR] ou le portail </a:t>
            </a:r>
            <a:r>
              <a:rPr lang="fr-FR" sz="3200" b="1" dirty="0">
                <a:hlinkClick r:id="rId6"/>
              </a:rPr>
              <a:t>HeTOP</a:t>
            </a:r>
            <a:r>
              <a:rPr lang="fr-FR" sz="3200" b="1" dirty="0"/>
              <a:t> </a:t>
            </a:r>
            <a:r>
              <a:rPr lang="fr-FR" sz="3200" dirty="0"/>
              <a:t>[FR et EN]</a:t>
            </a:r>
          </a:p>
          <a:p>
            <a:pPr lvl="0"/>
            <a:r>
              <a:rPr lang="fr-FR" sz="3200" b="1" dirty="0"/>
              <a:t> </a:t>
            </a:r>
            <a:r>
              <a:rPr lang="fr-FR" sz="3200" dirty="0"/>
              <a:t>Bien sûr, </a:t>
            </a:r>
            <a:r>
              <a:rPr lang="fr-FR" sz="3200" dirty="0" smtClean="0"/>
              <a:t>votre expertise et tous </a:t>
            </a:r>
            <a:r>
              <a:rPr lang="fr-FR" sz="3200" dirty="0"/>
              <a:t>les documents pertinents que vous identifierez au fur et à mesure de vos recherches sont également des sources de </a:t>
            </a:r>
            <a:r>
              <a:rPr lang="fr-FR" sz="3200" dirty="0" smtClean="0"/>
              <a:t>mots-clés</a:t>
            </a:r>
            <a:r>
              <a:rPr lang="fr-FR" sz="3200" i="1" dirty="0" smtClean="0"/>
              <a:t> </a:t>
            </a:r>
            <a:endParaRPr lang="fr-FR" sz="3200" dirty="0" smtClean="0"/>
          </a:p>
          <a:p>
            <a:pPr marL="0" indent="0">
              <a:buNone/>
            </a:pPr>
            <a:endParaRPr lang="fr-FR" sz="3200" dirty="0" smtClean="0"/>
          </a:p>
          <a:p>
            <a:endParaRPr lang="fr-FR" sz="3200" dirty="0"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2-05-03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4057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92" name="Text Box 11"/>
          <p:cNvSpPr txBox="1">
            <a:spLocks noChangeArrowheads="1"/>
          </p:cNvSpPr>
          <p:nvPr/>
        </p:nvSpPr>
        <p:spPr bwMode="auto">
          <a:xfrm>
            <a:off x="1030449" y="261316"/>
            <a:ext cx="10525055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fr-FR" sz="4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cabulaire </a:t>
            </a:r>
            <a:r>
              <a:rPr lang="fr-FR" sz="4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organiser ses mots-clé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030448" y="1134125"/>
            <a:ext cx="10525055" cy="14566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fr-FR" dirty="0" smtClean="0"/>
              <a:t>Un tableau est un bon moyen d’organiser de façon synthétique ses mots-clés</a:t>
            </a:r>
          </a:p>
          <a:p>
            <a:r>
              <a:rPr lang="fr-FR" dirty="0"/>
              <a:t> </a:t>
            </a:r>
            <a:r>
              <a:rPr lang="fr-FR" dirty="0" smtClean="0"/>
              <a:t>1 ligne par notion ou concept</a:t>
            </a:r>
          </a:p>
          <a:p>
            <a:r>
              <a:rPr lang="fr-FR" dirty="0" smtClean="0"/>
              <a:t> Option : ajouter des colonnes pour les termes issus de vocabulaires contrôlés (</a:t>
            </a:r>
            <a:r>
              <a:rPr lang="fr-FR" dirty="0" err="1" smtClean="0"/>
              <a:t>MeSH</a:t>
            </a:r>
            <a:r>
              <a:rPr lang="fr-FR" dirty="0" smtClean="0"/>
              <a:t>, CINAHL, etc.)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6843671"/>
              </p:ext>
            </p:extLst>
          </p:nvPr>
        </p:nvGraphicFramePr>
        <p:xfrm>
          <a:off x="2072518" y="4177553"/>
          <a:ext cx="7632849" cy="1849120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2544283"/>
                <a:gridCol w="2544283"/>
                <a:gridCol w="2544283"/>
              </a:tblGrid>
              <a:tr h="349880">
                <a:tc>
                  <a:txBody>
                    <a:bodyPr/>
                    <a:lstStyle/>
                    <a:p>
                      <a:r>
                        <a:rPr lang="fr-FR" dirty="0" smtClean="0">
                          <a:latin typeface="Corbel" panose="020B0503020204020204" pitchFamily="34" charset="0"/>
                        </a:rPr>
                        <a:t>Notion, concept</a:t>
                      </a:r>
                      <a:endParaRPr lang="fr-FR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latin typeface="Corbel" panose="020B0503020204020204" pitchFamily="34" charset="0"/>
                        </a:rPr>
                        <a:t>Mot-clé en français</a:t>
                      </a:r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smtClean="0">
                          <a:latin typeface="Corbel" panose="020B0503020204020204" pitchFamily="34" charset="0"/>
                        </a:rPr>
                        <a:t>Mot-clé en anglais</a:t>
                      </a:r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Espace réservé du pied de page 4"/>
          <p:cNvSpPr>
            <a:spLocks noGrp="1"/>
          </p:cNvSpPr>
          <p:nvPr>
            <p:ph type="ftr" sz="quarter" idx="4294967295"/>
          </p:nvPr>
        </p:nvSpPr>
        <p:spPr>
          <a:xfrm>
            <a:off x="3935760" y="6403457"/>
            <a:ext cx="3680048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F. Flamerie - Recherche doc - 2022-05-03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E13252-68E5-4994-B57B-B03F39B52C7D}" type="slidenum">
              <a:rPr lang="fr-FR" smtClean="0"/>
              <a:pPr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02252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daily-news_POWER_USER_SEPARATOR_ICONS_headlines_POWER_USER_SEPARATOR_ICONS_news_POWER_USER_SEPARATOR_ICONS_news-paper_POWER_USER_SEPARATOR_ICONS_pap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rrow_POWER_USER_SEPARATOR_ICONS_direction_POWER_USER_SEPARATOR_ICONS_way_POWER_USER_SEPARATOR_ICONS_movement_POWER_USER_SEPARATOR_ICONS_point_POWER_USER_SEPARATOR_ICONS_sign_POWER_USER_SEPARATOR_ICONS_next_POWER_USER_SEPARATOR_ICONS_up_POWER_USER_SEPARATOR_ICONS_growth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DF file*adobe*file forma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daily-news_POWER_USER_SEPARATOR_ICONS_headlines_POWER_USER_SEPARATOR_ICONS_news_POWER_USER_SEPARATOR_ICONS_news-paper_POWER_USER_SEPARATOR_ICONS_pap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DF file*adobe*file format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19</TotalTime>
  <Words>2019</Words>
  <Application>Microsoft Office PowerPoint</Application>
  <PresentationFormat>Grand écran</PresentationFormat>
  <Paragraphs>287</Paragraphs>
  <Slides>33</Slides>
  <Notes>23</Notes>
  <HiddenSlides>0</HiddenSlides>
  <MMClips>0</MMClips>
  <ScaleCrop>false</ScaleCrop>
  <HeadingPairs>
    <vt:vector size="6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33</vt:i4>
      </vt:variant>
    </vt:vector>
  </HeadingPairs>
  <TitlesOfParts>
    <vt:vector size="41" baseType="lpstr">
      <vt:lpstr>Arial</vt:lpstr>
      <vt:lpstr>Calibri</vt:lpstr>
      <vt:lpstr>Corbel</vt:lpstr>
      <vt:lpstr>Symbol</vt:lpstr>
      <vt:lpstr>Tahoma</vt:lpstr>
      <vt:lpstr>Wingdings</vt:lpstr>
      <vt:lpstr>Wingdings 2</vt:lpstr>
      <vt:lpstr>Thème Office</vt:lpstr>
      <vt:lpstr>Les fondamentaux de la recherche documentaire : méthode et outils</vt:lpstr>
      <vt:lpstr>Programme</vt:lpstr>
      <vt:lpstr>Introduction : le triangle de la recherche</vt:lpstr>
      <vt:lpstr>Introduction : le triangle de la recherche</vt:lpstr>
      <vt:lpstr>Méthode de la recherche documentair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Typologie des outils de recherche documentaire et critères de choix</vt:lpstr>
      <vt:lpstr>Repères</vt:lpstr>
      <vt:lpstr>Typologie : exemple de 2 types d’outils</vt:lpstr>
      <vt:lpstr>Critères de choix</vt:lpstr>
      <vt:lpstr>Bien interroger les outils</vt:lpstr>
      <vt:lpstr>Recherche documentaire et efficacité</vt:lpstr>
      <vt:lpstr>Recherche documentaire et efficacité : le bruit</vt:lpstr>
      <vt:lpstr>Recherche documentaire et efficacité : le silence</vt:lpstr>
      <vt:lpstr>Bien interroger les outils</vt:lpstr>
      <vt:lpstr>Bien interroger les outils</vt:lpstr>
      <vt:lpstr>Présentation PowerPoint</vt:lpstr>
      <vt:lpstr>Présentation PowerPoint</vt:lpstr>
      <vt:lpstr>Paramétrage des accès institutionnels dans les outils</vt:lpstr>
      <vt:lpstr>Accès UB dans votre navigateur internet</vt:lpstr>
      <vt:lpstr>Accès Inserm dans votre navigateur internet</vt:lpstr>
      <vt:lpstr>Accès institutionnels dans Google Scholar</vt:lpstr>
      <vt:lpstr>Accès institutionnels dans Google Scholar</vt:lpstr>
      <vt:lpstr>Accès institutionnels dans Google Scholar</vt:lpstr>
      <vt:lpstr>Accès institutionnels : dans votre logiciel de gestion bibliographique</vt:lpstr>
      <vt:lpstr>Alternatives légales lorsque les accès institutionnels font défaut </vt:lpstr>
      <vt:lpstr>Merci pour votre attention</vt:lpstr>
    </vt:vector>
  </TitlesOfParts>
  <Company>Direction de la Documentati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s fondamentaux de la recherche documentaire : méthode et outils</dc:title>
  <dc:creator>Frédérique Flamerie De Lachapelle</dc:creator>
  <cp:lastModifiedBy>Frédérique Flamerie De Lachapelle</cp:lastModifiedBy>
  <cp:revision>90</cp:revision>
  <dcterms:created xsi:type="dcterms:W3CDTF">2021-04-30T15:31:12Z</dcterms:created>
  <dcterms:modified xsi:type="dcterms:W3CDTF">2022-06-15T14:48:34Z</dcterms:modified>
</cp:coreProperties>
</file>